
<file path=[Content_Types].xml><?xml version="1.0" encoding="utf-8"?>
<Types xmlns="http://schemas.openxmlformats.org/package/2006/content-types">
  <Default Extension="png" ContentType="image/png"/>
  <Default Extension="bin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4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tags/tag3.xml" ContentType="application/vnd.openxmlformats-officedocument.presentationml.tags+xml"/>
  <Override PartName="/ppt/embeddings/oleObject3.bin" ContentType="application/vnd.openxmlformats-officedocument.oleObject"/>
  <Override PartName="/ppt/tags/tag4.xml" ContentType="application/vnd.openxmlformats-officedocument.presentationml.tags+xml"/>
  <Override PartName="/ppt/embeddings/oleObject4.bin" ContentType="application/vnd.openxmlformats-officedocument.oleObject"/>
  <Override PartName="/ppt/tags/tag5.xml" ContentType="application/vnd.openxmlformats-officedocument.presentationml.tags+xml"/>
  <Override PartName="/ppt/embeddings/oleObject5.bin" ContentType="application/vnd.openxmlformats-officedocument.oleObject"/>
  <Override PartName="/ppt/tags/tag6.xml" ContentType="application/vnd.openxmlformats-officedocument.presentationml.tags+xml"/>
  <Override PartName="/ppt/embeddings/oleObject6.bin" ContentType="application/vnd.openxmlformats-officedocument.oleObject"/>
  <Override PartName="/ppt/tags/tag7.xml" ContentType="application/vnd.openxmlformats-officedocument.presentationml.tags+xml"/>
  <Override PartName="/ppt/embeddings/oleObject7.bin" ContentType="application/vnd.openxmlformats-officedocument.oleObject"/>
  <Override PartName="/ppt/tags/tag8.xml" ContentType="application/vnd.openxmlformats-officedocument.presentationml.tags+xml"/>
  <Override PartName="/ppt/embeddings/oleObject8.bin" ContentType="application/vnd.openxmlformats-officedocument.oleObject"/>
  <Override PartName="/ppt/tags/tag9.xml" ContentType="application/vnd.openxmlformats-officedocument.presentationml.tags+xml"/>
  <Override PartName="/ppt/embeddings/oleObject9.bin" ContentType="application/vnd.openxmlformats-officedocument.oleObject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6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7.xml" ContentType="application/vnd.openxmlformats-officedocument.theme+xml"/>
  <Override PartName="/ppt/tags/tag10.xml" ContentType="application/vnd.openxmlformats-officedocument.presentationml.tags+xml"/>
  <Override PartName="/ppt/embeddings/oleObject10.bin" ContentType="application/vnd.openxmlformats-officedocument.oleObject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8.xml" ContentType="application/vnd.openxmlformats-officedocument.theme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9.xml" ContentType="application/vnd.openxmlformats-officedocument.theme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0.xml" ContentType="application/vnd.openxmlformats-officedocument.theme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11.xml" ContentType="application/vnd.openxmlformats-officedocument.theme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2.xml" ContentType="application/vnd.openxmlformats-officedocument.theme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9"/>
    <p:sldMasterId id="2147483692" r:id="rId10"/>
    <p:sldMasterId id="2147483715" r:id="rId11"/>
    <p:sldMasterId id="2147483737" r:id="rId12"/>
    <p:sldMasterId id="2147483758" r:id="rId13"/>
    <p:sldMasterId id="2147483767" r:id="rId14"/>
    <p:sldMasterId id="2147483788" r:id="rId15"/>
    <p:sldMasterId id="2147483823" r:id="rId16"/>
    <p:sldMasterId id="2147483844" r:id="rId17"/>
    <p:sldMasterId id="2147483856" r:id="rId18"/>
    <p:sldMasterId id="2147483869" r:id="rId19"/>
    <p:sldMasterId id="2147483881" r:id="rId20"/>
    <p:sldMasterId id="2147483893" r:id="rId21"/>
  </p:sldMasterIdLst>
  <p:notesMasterIdLst>
    <p:notesMasterId r:id="rId36"/>
  </p:notesMasterIdLst>
  <p:sldIdLst>
    <p:sldId id="312" r:id="rId22"/>
    <p:sldId id="287" r:id="rId23"/>
    <p:sldId id="311" r:id="rId24"/>
    <p:sldId id="314" r:id="rId25"/>
    <p:sldId id="313" r:id="rId26"/>
    <p:sldId id="315" r:id="rId27"/>
    <p:sldId id="308" r:id="rId28"/>
    <p:sldId id="309" r:id="rId29"/>
    <p:sldId id="310" r:id="rId30"/>
    <p:sldId id="317" r:id="rId31"/>
    <p:sldId id="318" r:id="rId32"/>
    <p:sldId id="316" r:id="rId33"/>
    <p:sldId id="324" r:id="rId34"/>
    <p:sldId id="325" r:id="rId35"/>
  </p:sldIdLst>
  <p:sldSz cx="12192000" cy="6858000"/>
  <p:notesSz cx="6797675" cy="9926638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A60"/>
    <a:srgbClr val="5C818B"/>
    <a:srgbClr val="B3B3B3"/>
    <a:srgbClr val="565656"/>
    <a:srgbClr val="009C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6" autoAdjust="0"/>
    <p:restoredTop sz="94660"/>
  </p:normalViewPr>
  <p:slideViewPr>
    <p:cSldViewPr showGuides="1">
      <p:cViewPr varScale="1">
        <p:scale>
          <a:sx n="60" d="100"/>
          <a:sy n="60" d="100"/>
        </p:scale>
        <p:origin x="903" y="30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Master" Target="slideMasters/slideMaster5.xml"/><Relationship Id="rId18" Type="http://schemas.openxmlformats.org/officeDocument/2006/relationships/slideMaster" Target="slideMasters/slideMaster10.xml"/><Relationship Id="rId26" Type="http://schemas.openxmlformats.org/officeDocument/2006/relationships/slide" Target="slides/slide5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3.xml"/><Relationship Id="rId34" Type="http://schemas.openxmlformats.org/officeDocument/2006/relationships/slide" Target="slides/slide13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4.xml"/><Relationship Id="rId17" Type="http://schemas.openxmlformats.org/officeDocument/2006/relationships/slideMaster" Target="slideMasters/slideMaster9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8.xml"/><Relationship Id="rId20" Type="http://schemas.openxmlformats.org/officeDocument/2006/relationships/slideMaster" Target="slideMasters/slideMaster12.xml"/><Relationship Id="rId29" Type="http://schemas.openxmlformats.org/officeDocument/2006/relationships/slide" Target="slides/slide8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3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7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2.xml"/><Relationship Id="rId19" Type="http://schemas.openxmlformats.org/officeDocument/2006/relationships/slideMaster" Target="slideMasters/slideMaster11.xml"/><Relationship Id="rId31" Type="http://schemas.openxmlformats.org/officeDocument/2006/relationships/slide" Target="slides/slide10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1.xml"/><Relationship Id="rId14" Type="http://schemas.openxmlformats.org/officeDocument/2006/relationships/slideMaster" Target="slideMasters/slideMaster6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90FD00B-A6D4-4B73-A54A-93FA72CAE84A}" type="doc">
      <dgm:prSet loTypeId="urn:microsoft.com/office/officeart/2005/8/layout/cycle8" loCatId="cycle" qsTypeId="urn:microsoft.com/office/officeart/2005/8/quickstyle/simple1" qsCatId="simple" csTypeId="urn:microsoft.com/office/officeart/2005/8/colors/accent1_2" csCatId="accent1" phldr="1"/>
      <dgm:spPr/>
    </dgm:pt>
    <dgm:pt modelId="{0F967E41-4CFA-4B50-A5B8-C5BF44A3D9AE}">
      <dgm:prSet phldrT="[Tekst]"/>
      <dgm:spPr>
        <a:solidFill>
          <a:srgbClr val="ADCCD2"/>
        </a:solidFill>
      </dgm:spPr>
      <dgm:t>
        <a:bodyPr/>
        <a:lstStyle/>
        <a:p>
          <a:r>
            <a:rPr lang="da-DK" dirty="0">
              <a:solidFill>
                <a:schemeClr val="tx1"/>
              </a:solidFill>
            </a:rPr>
            <a:t>Plan</a:t>
          </a:r>
        </a:p>
      </dgm:t>
    </dgm:pt>
    <dgm:pt modelId="{E7C79EB8-3768-4ECA-8AF2-B311E2E3691B}" type="parTrans" cxnId="{3FD360E6-8E41-4DED-A4A5-661523C96863}">
      <dgm:prSet/>
      <dgm:spPr/>
      <dgm:t>
        <a:bodyPr/>
        <a:lstStyle/>
        <a:p>
          <a:endParaRPr lang="da-DK"/>
        </a:p>
      </dgm:t>
    </dgm:pt>
    <dgm:pt modelId="{71D1068E-9C90-4CD8-BDE0-B846887F5F6D}" type="sibTrans" cxnId="{3FD360E6-8E41-4DED-A4A5-661523C96863}">
      <dgm:prSet/>
      <dgm:spPr/>
      <dgm:t>
        <a:bodyPr/>
        <a:lstStyle/>
        <a:p>
          <a:endParaRPr lang="da-DK"/>
        </a:p>
      </dgm:t>
    </dgm:pt>
    <dgm:pt modelId="{3AC331AC-F761-4D0E-8FFC-307636340007}">
      <dgm:prSet phldrT="[Tekst]"/>
      <dgm:spPr>
        <a:solidFill>
          <a:srgbClr val="ADCCD2"/>
        </a:solidFill>
      </dgm:spPr>
      <dgm:t>
        <a:bodyPr/>
        <a:lstStyle/>
        <a:p>
          <a:r>
            <a:rPr lang="da-DK" dirty="0">
              <a:solidFill>
                <a:schemeClr val="tx1"/>
              </a:solidFill>
            </a:rPr>
            <a:t>Do</a:t>
          </a:r>
        </a:p>
      </dgm:t>
    </dgm:pt>
    <dgm:pt modelId="{2197672F-ED8F-404F-AE98-23AF7E7C8DA5}" type="parTrans" cxnId="{AA40D530-3C49-4CE8-842E-B68C0CF491C6}">
      <dgm:prSet/>
      <dgm:spPr/>
      <dgm:t>
        <a:bodyPr/>
        <a:lstStyle/>
        <a:p>
          <a:endParaRPr lang="da-DK"/>
        </a:p>
      </dgm:t>
    </dgm:pt>
    <dgm:pt modelId="{FCB64B49-782D-46CD-B88A-7147BD3C75A7}" type="sibTrans" cxnId="{AA40D530-3C49-4CE8-842E-B68C0CF491C6}">
      <dgm:prSet/>
      <dgm:spPr/>
      <dgm:t>
        <a:bodyPr/>
        <a:lstStyle/>
        <a:p>
          <a:endParaRPr lang="da-DK"/>
        </a:p>
      </dgm:t>
    </dgm:pt>
    <dgm:pt modelId="{0173FB1A-26E8-4512-ABB2-59A1C6E40D03}">
      <dgm:prSet phldrT="[Tekst]"/>
      <dgm:spPr>
        <a:solidFill>
          <a:srgbClr val="ADCCD2"/>
        </a:solidFill>
      </dgm:spPr>
      <dgm:t>
        <a:bodyPr/>
        <a:lstStyle/>
        <a:p>
          <a:r>
            <a:rPr lang="en-US" noProof="0" dirty="0">
              <a:solidFill>
                <a:schemeClr val="tx1"/>
              </a:solidFill>
            </a:rPr>
            <a:t>Study</a:t>
          </a:r>
        </a:p>
      </dgm:t>
    </dgm:pt>
    <dgm:pt modelId="{BE679519-A526-4537-907B-4CA79EFF081C}" type="parTrans" cxnId="{A4CA3697-971E-4E5F-88DE-3DBE1ED9F47F}">
      <dgm:prSet/>
      <dgm:spPr/>
      <dgm:t>
        <a:bodyPr/>
        <a:lstStyle/>
        <a:p>
          <a:endParaRPr lang="da-DK"/>
        </a:p>
      </dgm:t>
    </dgm:pt>
    <dgm:pt modelId="{43F53E94-18F1-4304-8C14-6F463C8533FE}" type="sibTrans" cxnId="{A4CA3697-971E-4E5F-88DE-3DBE1ED9F47F}">
      <dgm:prSet/>
      <dgm:spPr/>
      <dgm:t>
        <a:bodyPr/>
        <a:lstStyle/>
        <a:p>
          <a:endParaRPr lang="da-DK"/>
        </a:p>
      </dgm:t>
    </dgm:pt>
    <dgm:pt modelId="{C22F31ED-595C-40D8-91E2-F93AF6322002}">
      <dgm:prSet phldrT="[Tekst]"/>
      <dgm:spPr>
        <a:solidFill>
          <a:srgbClr val="ADCCD2"/>
        </a:solidFill>
      </dgm:spPr>
      <dgm:t>
        <a:bodyPr/>
        <a:lstStyle/>
        <a:p>
          <a:r>
            <a:rPr lang="da-DK" dirty="0">
              <a:solidFill>
                <a:schemeClr val="tx1"/>
              </a:solidFill>
            </a:rPr>
            <a:t>Act</a:t>
          </a:r>
        </a:p>
      </dgm:t>
    </dgm:pt>
    <dgm:pt modelId="{6CD95AAC-3C06-468F-A584-93F5884FB396}" type="parTrans" cxnId="{49FE6658-1D15-4333-94B9-49EEDECAF37A}">
      <dgm:prSet/>
      <dgm:spPr/>
      <dgm:t>
        <a:bodyPr/>
        <a:lstStyle/>
        <a:p>
          <a:endParaRPr lang="da-DK"/>
        </a:p>
      </dgm:t>
    </dgm:pt>
    <dgm:pt modelId="{D7439750-C779-452F-B1E9-1FC6F3C2C134}" type="sibTrans" cxnId="{49FE6658-1D15-4333-94B9-49EEDECAF37A}">
      <dgm:prSet/>
      <dgm:spPr/>
      <dgm:t>
        <a:bodyPr/>
        <a:lstStyle/>
        <a:p>
          <a:endParaRPr lang="da-DK"/>
        </a:p>
      </dgm:t>
    </dgm:pt>
    <dgm:pt modelId="{B651190C-D32C-4852-A52F-22E210E6EF19}" type="pres">
      <dgm:prSet presAssocID="{790FD00B-A6D4-4B73-A54A-93FA72CAE84A}" presName="compositeShape" presStyleCnt="0">
        <dgm:presLayoutVars>
          <dgm:chMax val="7"/>
          <dgm:dir/>
          <dgm:resizeHandles val="exact"/>
        </dgm:presLayoutVars>
      </dgm:prSet>
      <dgm:spPr/>
    </dgm:pt>
    <dgm:pt modelId="{5AB599FB-4B8E-4DB5-94BB-EFDEEF3F1910}" type="pres">
      <dgm:prSet presAssocID="{790FD00B-A6D4-4B73-A54A-93FA72CAE84A}" presName="wedge1" presStyleLbl="node1" presStyleIdx="0" presStyleCnt="4"/>
      <dgm:spPr/>
      <dgm:t>
        <a:bodyPr/>
        <a:lstStyle/>
        <a:p>
          <a:endParaRPr lang="da-DK"/>
        </a:p>
      </dgm:t>
    </dgm:pt>
    <dgm:pt modelId="{1BFE4583-D9E2-4C27-BEDC-B776320C8113}" type="pres">
      <dgm:prSet presAssocID="{790FD00B-A6D4-4B73-A54A-93FA72CAE84A}" presName="dummy1a" presStyleCnt="0"/>
      <dgm:spPr/>
    </dgm:pt>
    <dgm:pt modelId="{D50AFA45-BFAF-4C91-9D2F-7F2E5B0D559C}" type="pres">
      <dgm:prSet presAssocID="{790FD00B-A6D4-4B73-A54A-93FA72CAE84A}" presName="dummy1b" presStyleCnt="0"/>
      <dgm:spPr/>
    </dgm:pt>
    <dgm:pt modelId="{207AA158-E0DD-4228-87D1-91F6EA77EAA8}" type="pres">
      <dgm:prSet presAssocID="{790FD00B-A6D4-4B73-A54A-93FA72CAE84A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498C993F-7873-48D4-AC05-FFA1127D05CD}" type="pres">
      <dgm:prSet presAssocID="{790FD00B-A6D4-4B73-A54A-93FA72CAE84A}" presName="wedge2" presStyleLbl="node1" presStyleIdx="1" presStyleCnt="4"/>
      <dgm:spPr/>
      <dgm:t>
        <a:bodyPr/>
        <a:lstStyle/>
        <a:p>
          <a:endParaRPr lang="da-DK"/>
        </a:p>
      </dgm:t>
    </dgm:pt>
    <dgm:pt modelId="{9FCA5896-BC0D-45C1-AA48-410E4423F04C}" type="pres">
      <dgm:prSet presAssocID="{790FD00B-A6D4-4B73-A54A-93FA72CAE84A}" presName="dummy2a" presStyleCnt="0"/>
      <dgm:spPr/>
    </dgm:pt>
    <dgm:pt modelId="{99ED1BDE-80CF-4798-9892-344CC680DB01}" type="pres">
      <dgm:prSet presAssocID="{790FD00B-A6D4-4B73-A54A-93FA72CAE84A}" presName="dummy2b" presStyleCnt="0"/>
      <dgm:spPr/>
    </dgm:pt>
    <dgm:pt modelId="{5E6EC7D9-B178-4207-9721-30F42F71E71E}" type="pres">
      <dgm:prSet presAssocID="{790FD00B-A6D4-4B73-A54A-93FA72CAE84A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B60C266F-FF7D-40C2-AF02-3BBEECF8A72B}" type="pres">
      <dgm:prSet presAssocID="{790FD00B-A6D4-4B73-A54A-93FA72CAE84A}" presName="wedge3" presStyleLbl="node1" presStyleIdx="2" presStyleCnt="4"/>
      <dgm:spPr/>
      <dgm:t>
        <a:bodyPr/>
        <a:lstStyle/>
        <a:p>
          <a:endParaRPr lang="da-DK"/>
        </a:p>
      </dgm:t>
    </dgm:pt>
    <dgm:pt modelId="{7DDC7324-5467-4CF4-B734-1717818A46B5}" type="pres">
      <dgm:prSet presAssocID="{790FD00B-A6D4-4B73-A54A-93FA72CAE84A}" presName="dummy3a" presStyleCnt="0"/>
      <dgm:spPr/>
    </dgm:pt>
    <dgm:pt modelId="{027D4BA2-7B07-4D83-B3C3-9C53EA06D6F6}" type="pres">
      <dgm:prSet presAssocID="{790FD00B-A6D4-4B73-A54A-93FA72CAE84A}" presName="dummy3b" presStyleCnt="0"/>
      <dgm:spPr/>
    </dgm:pt>
    <dgm:pt modelId="{39D30DBA-210A-49E6-824E-CB56BE7B9B00}" type="pres">
      <dgm:prSet presAssocID="{790FD00B-A6D4-4B73-A54A-93FA72CAE84A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9F58ED52-6278-404D-B29B-1F3204241BFB}" type="pres">
      <dgm:prSet presAssocID="{790FD00B-A6D4-4B73-A54A-93FA72CAE84A}" presName="wedge4" presStyleLbl="node1" presStyleIdx="3" presStyleCnt="4"/>
      <dgm:spPr/>
      <dgm:t>
        <a:bodyPr/>
        <a:lstStyle/>
        <a:p>
          <a:endParaRPr lang="da-DK"/>
        </a:p>
      </dgm:t>
    </dgm:pt>
    <dgm:pt modelId="{0DB72466-EB71-41C6-A7BD-FEC9B488688B}" type="pres">
      <dgm:prSet presAssocID="{790FD00B-A6D4-4B73-A54A-93FA72CAE84A}" presName="dummy4a" presStyleCnt="0"/>
      <dgm:spPr/>
    </dgm:pt>
    <dgm:pt modelId="{DF595B49-8C08-4E9A-8B11-3B143B553DC2}" type="pres">
      <dgm:prSet presAssocID="{790FD00B-A6D4-4B73-A54A-93FA72CAE84A}" presName="dummy4b" presStyleCnt="0"/>
      <dgm:spPr/>
    </dgm:pt>
    <dgm:pt modelId="{FC57D9C5-F7DC-45B8-91F5-0DF441F639AF}" type="pres">
      <dgm:prSet presAssocID="{790FD00B-A6D4-4B73-A54A-93FA72CAE84A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2924714D-E058-45C1-BFCE-2AFA20BE1215}" type="pres">
      <dgm:prSet presAssocID="{71D1068E-9C90-4CD8-BDE0-B846887F5F6D}" presName="arrowWedge1" presStyleLbl="fgSibTrans2D1" presStyleIdx="0" presStyleCnt="4"/>
      <dgm:spPr>
        <a:solidFill>
          <a:srgbClr val="006983"/>
        </a:solidFill>
      </dgm:spPr>
    </dgm:pt>
    <dgm:pt modelId="{0E123AB5-FB64-4DCC-9A69-B06EC73C3DCF}" type="pres">
      <dgm:prSet presAssocID="{FCB64B49-782D-46CD-B88A-7147BD3C75A7}" presName="arrowWedge2" presStyleLbl="fgSibTrans2D1" presStyleIdx="1" presStyleCnt="4"/>
      <dgm:spPr>
        <a:solidFill>
          <a:srgbClr val="006983"/>
        </a:solidFill>
      </dgm:spPr>
    </dgm:pt>
    <dgm:pt modelId="{9DA6BF1A-AB9C-41EE-9652-6694BC7535C7}" type="pres">
      <dgm:prSet presAssocID="{43F53E94-18F1-4304-8C14-6F463C8533FE}" presName="arrowWedge3" presStyleLbl="fgSibTrans2D1" presStyleIdx="2" presStyleCnt="4"/>
      <dgm:spPr>
        <a:solidFill>
          <a:srgbClr val="006983"/>
        </a:solidFill>
      </dgm:spPr>
    </dgm:pt>
    <dgm:pt modelId="{8DB454C4-ADA3-45CB-918E-DC08D79E233F}" type="pres">
      <dgm:prSet presAssocID="{D7439750-C779-452F-B1E9-1FC6F3C2C134}" presName="arrowWedge4" presStyleLbl="fgSibTrans2D1" presStyleIdx="3" presStyleCnt="4"/>
      <dgm:spPr>
        <a:solidFill>
          <a:srgbClr val="006983"/>
        </a:solidFill>
      </dgm:spPr>
    </dgm:pt>
  </dgm:ptLst>
  <dgm:cxnLst>
    <dgm:cxn modelId="{AA40D530-3C49-4CE8-842E-B68C0CF491C6}" srcId="{790FD00B-A6D4-4B73-A54A-93FA72CAE84A}" destId="{3AC331AC-F761-4D0E-8FFC-307636340007}" srcOrd="1" destOrd="0" parTransId="{2197672F-ED8F-404F-AE98-23AF7E7C8DA5}" sibTransId="{FCB64B49-782D-46CD-B88A-7147BD3C75A7}"/>
    <dgm:cxn modelId="{9771F0B4-74C6-45BE-91A1-B3FFD91191BC}" type="presOf" srcId="{C22F31ED-595C-40D8-91E2-F93AF6322002}" destId="{9F58ED52-6278-404D-B29B-1F3204241BFB}" srcOrd="0" destOrd="0" presId="urn:microsoft.com/office/officeart/2005/8/layout/cycle8"/>
    <dgm:cxn modelId="{6005C20A-5926-46A7-9F1B-DD6FBE968DFE}" type="presOf" srcId="{0173FB1A-26E8-4512-ABB2-59A1C6E40D03}" destId="{39D30DBA-210A-49E6-824E-CB56BE7B9B00}" srcOrd="1" destOrd="0" presId="urn:microsoft.com/office/officeart/2005/8/layout/cycle8"/>
    <dgm:cxn modelId="{49FE6658-1D15-4333-94B9-49EEDECAF37A}" srcId="{790FD00B-A6D4-4B73-A54A-93FA72CAE84A}" destId="{C22F31ED-595C-40D8-91E2-F93AF6322002}" srcOrd="3" destOrd="0" parTransId="{6CD95AAC-3C06-468F-A584-93F5884FB396}" sibTransId="{D7439750-C779-452F-B1E9-1FC6F3C2C134}"/>
    <dgm:cxn modelId="{37FA43AE-7F61-42F8-A155-C9DA48FEC8F0}" type="presOf" srcId="{C22F31ED-595C-40D8-91E2-F93AF6322002}" destId="{FC57D9C5-F7DC-45B8-91F5-0DF441F639AF}" srcOrd="1" destOrd="0" presId="urn:microsoft.com/office/officeart/2005/8/layout/cycle8"/>
    <dgm:cxn modelId="{363B29D6-135F-4100-88D6-C711D13DB471}" type="presOf" srcId="{3AC331AC-F761-4D0E-8FFC-307636340007}" destId="{498C993F-7873-48D4-AC05-FFA1127D05CD}" srcOrd="0" destOrd="0" presId="urn:microsoft.com/office/officeart/2005/8/layout/cycle8"/>
    <dgm:cxn modelId="{6561AD30-0D4D-4821-982F-F1CB805B4C75}" type="presOf" srcId="{0173FB1A-26E8-4512-ABB2-59A1C6E40D03}" destId="{B60C266F-FF7D-40C2-AF02-3BBEECF8A72B}" srcOrd="0" destOrd="0" presId="urn:microsoft.com/office/officeart/2005/8/layout/cycle8"/>
    <dgm:cxn modelId="{A4CA3697-971E-4E5F-88DE-3DBE1ED9F47F}" srcId="{790FD00B-A6D4-4B73-A54A-93FA72CAE84A}" destId="{0173FB1A-26E8-4512-ABB2-59A1C6E40D03}" srcOrd="2" destOrd="0" parTransId="{BE679519-A526-4537-907B-4CA79EFF081C}" sibTransId="{43F53E94-18F1-4304-8C14-6F463C8533FE}"/>
    <dgm:cxn modelId="{2C5E1423-105F-4E89-A15F-42A8D4024FC6}" type="presOf" srcId="{790FD00B-A6D4-4B73-A54A-93FA72CAE84A}" destId="{B651190C-D32C-4852-A52F-22E210E6EF19}" srcOrd="0" destOrd="0" presId="urn:microsoft.com/office/officeart/2005/8/layout/cycle8"/>
    <dgm:cxn modelId="{E721EBF0-6C71-4EF5-90DD-46C7CFA00570}" type="presOf" srcId="{0F967E41-4CFA-4B50-A5B8-C5BF44A3D9AE}" destId="{5AB599FB-4B8E-4DB5-94BB-EFDEEF3F1910}" srcOrd="0" destOrd="0" presId="urn:microsoft.com/office/officeart/2005/8/layout/cycle8"/>
    <dgm:cxn modelId="{B0DEF608-6A2B-4BD6-9BBE-4466BC222605}" type="presOf" srcId="{3AC331AC-F761-4D0E-8FFC-307636340007}" destId="{5E6EC7D9-B178-4207-9721-30F42F71E71E}" srcOrd="1" destOrd="0" presId="urn:microsoft.com/office/officeart/2005/8/layout/cycle8"/>
    <dgm:cxn modelId="{6A4970E8-76EB-4BBC-93E7-691DC3C20137}" type="presOf" srcId="{0F967E41-4CFA-4B50-A5B8-C5BF44A3D9AE}" destId="{207AA158-E0DD-4228-87D1-91F6EA77EAA8}" srcOrd="1" destOrd="0" presId="urn:microsoft.com/office/officeart/2005/8/layout/cycle8"/>
    <dgm:cxn modelId="{3FD360E6-8E41-4DED-A4A5-661523C96863}" srcId="{790FD00B-A6D4-4B73-A54A-93FA72CAE84A}" destId="{0F967E41-4CFA-4B50-A5B8-C5BF44A3D9AE}" srcOrd="0" destOrd="0" parTransId="{E7C79EB8-3768-4ECA-8AF2-B311E2E3691B}" sibTransId="{71D1068E-9C90-4CD8-BDE0-B846887F5F6D}"/>
    <dgm:cxn modelId="{24910B06-6835-4D06-93C2-CC2A673DC225}" type="presParOf" srcId="{B651190C-D32C-4852-A52F-22E210E6EF19}" destId="{5AB599FB-4B8E-4DB5-94BB-EFDEEF3F1910}" srcOrd="0" destOrd="0" presId="urn:microsoft.com/office/officeart/2005/8/layout/cycle8"/>
    <dgm:cxn modelId="{F1ACC264-9F98-4A0E-84C0-F5C785B0FFD9}" type="presParOf" srcId="{B651190C-D32C-4852-A52F-22E210E6EF19}" destId="{1BFE4583-D9E2-4C27-BEDC-B776320C8113}" srcOrd="1" destOrd="0" presId="urn:microsoft.com/office/officeart/2005/8/layout/cycle8"/>
    <dgm:cxn modelId="{ACFFBE6E-6FA0-4AE6-87C2-E22C659777E7}" type="presParOf" srcId="{B651190C-D32C-4852-A52F-22E210E6EF19}" destId="{D50AFA45-BFAF-4C91-9D2F-7F2E5B0D559C}" srcOrd="2" destOrd="0" presId="urn:microsoft.com/office/officeart/2005/8/layout/cycle8"/>
    <dgm:cxn modelId="{BEF352CB-4BE1-4F01-AB4E-FF2570AC968C}" type="presParOf" srcId="{B651190C-D32C-4852-A52F-22E210E6EF19}" destId="{207AA158-E0DD-4228-87D1-91F6EA77EAA8}" srcOrd="3" destOrd="0" presId="urn:microsoft.com/office/officeart/2005/8/layout/cycle8"/>
    <dgm:cxn modelId="{077EAAE7-E235-44F2-A76D-568498CB4956}" type="presParOf" srcId="{B651190C-D32C-4852-A52F-22E210E6EF19}" destId="{498C993F-7873-48D4-AC05-FFA1127D05CD}" srcOrd="4" destOrd="0" presId="urn:microsoft.com/office/officeart/2005/8/layout/cycle8"/>
    <dgm:cxn modelId="{C5CAE6C9-8D96-45CB-B272-B6F94D8A09B6}" type="presParOf" srcId="{B651190C-D32C-4852-A52F-22E210E6EF19}" destId="{9FCA5896-BC0D-45C1-AA48-410E4423F04C}" srcOrd="5" destOrd="0" presId="urn:microsoft.com/office/officeart/2005/8/layout/cycle8"/>
    <dgm:cxn modelId="{876A1C07-818E-4C61-B51B-53175229F614}" type="presParOf" srcId="{B651190C-D32C-4852-A52F-22E210E6EF19}" destId="{99ED1BDE-80CF-4798-9892-344CC680DB01}" srcOrd="6" destOrd="0" presId="urn:microsoft.com/office/officeart/2005/8/layout/cycle8"/>
    <dgm:cxn modelId="{8A672886-D4F9-46C3-A052-D322D3FD44C3}" type="presParOf" srcId="{B651190C-D32C-4852-A52F-22E210E6EF19}" destId="{5E6EC7D9-B178-4207-9721-30F42F71E71E}" srcOrd="7" destOrd="0" presId="urn:microsoft.com/office/officeart/2005/8/layout/cycle8"/>
    <dgm:cxn modelId="{3369E6DB-DEBD-44F6-A2D8-6B80BCD1DACC}" type="presParOf" srcId="{B651190C-D32C-4852-A52F-22E210E6EF19}" destId="{B60C266F-FF7D-40C2-AF02-3BBEECF8A72B}" srcOrd="8" destOrd="0" presId="urn:microsoft.com/office/officeart/2005/8/layout/cycle8"/>
    <dgm:cxn modelId="{323BAEA0-68A3-4222-A12B-EBB41DE6B51E}" type="presParOf" srcId="{B651190C-D32C-4852-A52F-22E210E6EF19}" destId="{7DDC7324-5467-4CF4-B734-1717818A46B5}" srcOrd="9" destOrd="0" presId="urn:microsoft.com/office/officeart/2005/8/layout/cycle8"/>
    <dgm:cxn modelId="{4CFB6846-829D-45D1-AB42-0C4E05419943}" type="presParOf" srcId="{B651190C-D32C-4852-A52F-22E210E6EF19}" destId="{027D4BA2-7B07-4D83-B3C3-9C53EA06D6F6}" srcOrd="10" destOrd="0" presId="urn:microsoft.com/office/officeart/2005/8/layout/cycle8"/>
    <dgm:cxn modelId="{57C50162-50D1-4E3F-8DAD-E4D75C69502A}" type="presParOf" srcId="{B651190C-D32C-4852-A52F-22E210E6EF19}" destId="{39D30DBA-210A-49E6-824E-CB56BE7B9B00}" srcOrd="11" destOrd="0" presId="urn:microsoft.com/office/officeart/2005/8/layout/cycle8"/>
    <dgm:cxn modelId="{CBDCD247-5E29-4BE6-AB2B-2AB07D16629A}" type="presParOf" srcId="{B651190C-D32C-4852-A52F-22E210E6EF19}" destId="{9F58ED52-6278-404D-B29B-1F3204241BFB}" srcOrd="12" destOrd="0" presId="urn:microsoft.com/office/officeart/2005/8/layout/cycle8"/>
    <dgm:cxn modelId="{00141BA3-E3AA-42A0-B120-5A9AC3052C7E}" type="presParOf" srcId="{B651190C-D32C-4852-A52F-22E210E6EF19}" destId="{0DB72466-EB71-41C6-A7BD-FEC9B488688B}" srcOrd="13" destOrd="0" presId="urn:microsoft.com/office/officeart/2005/8/layout/cycle8"/>
    <dgm:cxn modelId="{F9AB9201-2903-47E0-940C-88A141401A1E}" type="presParOf" srcId="{B651190C-D32C-4852-A52F-22E210E6EF19}" destId="{DF595B49-8C08-4E9A-8B11-3B143B553DC2}" srcOrd="14" destOrd="0" presId="urn:microsoft.com/office/officeart/2005/8/layout/cycle8"/>
    <dgm:cxn modelId="{0979AB0A-0144-4A14-B2E3-F34B1912A892}" type="presParOf" srcId="{B651190C-D32C-4852-A52F-22E210E6EF19}" destId="{FC57D9C5-F7DC-45B8-91F5-0DF441F639AF}" srcOrd="15" destOrd="0" presId="urn:microsoft.com/office/officeart/2005/8/layout/cycle8"/>
    <dgm:cxn modelId="{FFB1B7A7-1A7C-43AA-A42F-7DDE3B276D07}" type="presParOf" srcId="{B651190C-D32C-4852-A52F-22E210E6EF19}" destId="{2924714D-E058-45C1-BFCE-2AFA20BE1215}" srcOrd="16" destOrd="0" presId="urn:microsoft.com/office/officeart/2005/8/layout/cycle8"/>
    <dgm:cxn modelId="{2CD7F09E-C5ED-4412-8910-FCD371AA3C31}" type="presParOf" srcId="{B651190C-D32C-4852-A52F-22E210E6EF19}" destId="{0E123AB5-FB64-4DCC-9A69-B06EC73C3DCF}" srcOrd="17" destOrd="0" presId="urn:microsoft.com/office/officeart/2005/8/layout/cycle8"/>
    <dgm:cxn modelId="{7A4504DA-37EF-4821-94D3-B0B0FF27F0F5}" type="presParOf" srcId="{B651190C-D32C-4852-A52F-22E210E6EF19}" destId="{9DA6BF1A-AB9C-41EE-9652-6694BC7535C7}" srcOrd="18" destOrd="0" presId="urn:microsoft.com/office/officeart/2005/8/layout/cycle8"/>
    <dgm:cxn modelId="{B19D8A9B-6B99-44A9-8FBB-E68A636BD8AD}" type="presParOf" srcId="{B651190C-D32C-4852-A52F-22E210E6EF19}" destId="{8DB454C4-ADA3-45CB-918E-DC08D79E233F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B599FB-4B8E-4DB5-94BB-EFDEEF3F1910}">
      <dsp:nvSpPr>
        <dsp:cNvPr id="0" name=""/>
        <dsp:cNvSpPr/>
      </dsp:nvSpPr>
      <dsp:spPr>
        <a:xfrm>
          <a:off x="57049" y="318790"/>
          <a:ext cx="669941" cy="669941"/>
        </a:xfrm>
        <a:prstGeom prst="pie">
          <a:avLst>
            <a:gd name="adj1" fmla="val 16200000"/>
            <a:gd name="adj2" fmla="val 0"/>
          </a:avLst>
        </a:prstGeom>
        <a:solidFill>
          <a:srgbClr val="ADCCD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700" kern="1200" dirty="0">
              <a:solidFill>
                <a:schemeClr val="tx1"/>
              </a:solidFill>
            </a:rPr>
            <a:t>Plan</a:t>
          </a:r>
        </a:p>
      </dsp:txBody>
      <dsp:txXfrm>
        <a:off x="412676" y="457643"/>
        <a:ext cx="247240" cy="183436"/>
      </dsp:txXfrm>
    </dsp:sp>
    <dsp:sp modelId="{498C993F-7873-48D4-AC05-FFA1127D05CD}">
      <dsp:nvSpPr>
        <dsp:cNvPr id="0" name=""/>
        <dsp:cNvSpPr/>
      </dsp:nvSpPr>
      <dsp:spPr>
        <a:xfrm>
          <a:off x="57049" y="341281"/>
          <a:ext cx="669941" cy="669941"/>
        </a:xfrm>
        <a:prstGeom prst="pie">
          <a:avLst>
            <a:gd name="adj1" fmla="val 0"/>
            <a:gd name="adj2" fmla="val 5400000"/>
          </a:avLst>
        </a:prstGeom>
        <a:solidFill>
          <a:srgbClr val="ADCCD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700" kern="1200" dirty="0">
              <a:solidFill>
                <a:schemeClr val="tx1"/>
              </a:solidFill>
            </a:rPr>
            <a:t>Do</a:t>
          </a:r>
        </a:p>
      </dsp:txBody>
      <dsp:txXfrm>
        <a:off x="412676" y="688932"/>
        <a:ext cx="247240" cy="183436"/>
      </dsp:txXfrm>
    </dsp:sp>
    <dsp:sp modelId="{B60C266F-FF7D-40C2-AF02-3BBEECF8A72B}">
      <dsp:nvSpPr>
        <dsp:cNvPr id="0" name=""/>
        <dsp:cNvSpPr/>
      </dsp:nvSpPr>
      <dsp:spPr>
        <a:xfrm>
          <a:off x="34558" y="341281"/>
          <a:ext cx="669941" cy="669941"/>
        </a:xfrm>
        <a:prstGeom prst="pie">
          <a:avLst>
            <a:gd name="adj1" fmla="val 5400000"/>
            <a:gd name="adj2" fmla="val 10800000"/>
          </a:avLst>
        </a:prstGeom>
        <a:solidFill>
          <a:srgbClr val="ADCCD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noProof="0" dirty="0">
              <a:solidFill>
                <a:schemeClr val="tx1"/>
              </a:solidFill>
            </a:rPr>
            <a:t>Study</a:t>
          </a:r>
        </a:p>
      </dsp:txBody>
      <dsp:txXfrm>
        <a:off x="101632" y="688932"/>
        <a:ext cx="247240" cy="183436"/>
      </dsp:txXfrm>
    </dsp:sp>
    <dsp:sp modelId="{9F58ED52-6278-404D-B29B-1F3204241BFB}">
      <dsp:nvSpPr>
        <dsp:cNvPr id="0" name=""/>
        <dsp:cNvSpPr/>
      </dsp:nvSpPr>
      <dsp:spPr>
        <a:xfrm>
          <a:off x="34558" y="318790"/>
          <a:ext cx="669941" cy="669941"/>
        </a:xfrm>
        <a:prstGeom prst="pie">
          <a:avLst>
            <a:gd name="adj1" fmla="val 10800000"/>
            <a:gd name="adj2" fmla="val 16200000"/>
          </a:avLst>
        </a:prstGeom>
        <a:solidFill>
          <a:srgbClr val="ADCCD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700" kern="1200" dirty="0">
              <a:solidFill>
                <a:schemeClr val="tx1"/>
              </a:solidFill>
            </a:rPr>
            <a:t>Act</a:t>
          </a:r>
        </a:p>
      </dsp:txBody>
      <dsp:txXfrm>
        <a:off x="101632" y="457643"/>
        <a:ext cx="247240" cy="183436"/>
      </dsp:txXfrm>
    </dsp:sp>
    <dsp:sp modelId="{2924714D-E058-45C1-BFCE-2AFA20BE1215}">
      <dsp:nvSpPr>
        <dsp:cNvPr id="0" name=""/>
        <dsp:cNvSpPr/>
      </dsp:nvSpPr>
      <dsp:spPr>
        <a:xfrm>
          <a:off x="15576" y="277317"/>
          <a:ext cx="752886" cy="752886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rgbClr val="006983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E123AB5-FB64-4DCC-9A69-B06EC73C3DCF}">
      <dsp:nvSpPr>
        <dsp:cNvPr id="0" name=""/>
        <dsp:cNvSpPr/>
      </dsp:nvSpPr>
      <dsp:spPr>
        <a:xfrm>
          <a:off x="15576" y="299808"/>
          <a:ext cx="752886" cy="752886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rgbClr val="006983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DA6BF1A-AB9C-41EE-9652-6694BC7535C7}">
      <dsp:nvSpPr>
        <dsp:cNvPr id="0" name=""/>
        <dsp:cNvSpPr/>
      </dsp:nvSpPr>
      <dsp:spPr>
        <a:xfrm>
          <a:off x="-6914" y="299808"/>
          <a:ext cx="752886" cy="752886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rgbClr val="006983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DB454C4-ADA3-45CB-918E-DC08D79E233F}">
      <dsp:nvSpPr>
        <dsp:cNvPr id="0" name=""/>
        <dsp:cNvSpPr/>
      </dsp:nvSpPr>
      <dsp:spPr>
        <a:xfrm>
          <a:off x="-6914" y="277317"/>
          <a:ext cx="752886" cy="752886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rgbClr val="006983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EB28D1-58D8-4EBA-AD4A-3097FCE67AD9}" type="datetimeFigureOut">
              <a:rPr lang="da-DK" smtClean="0"/>
              <a:t>15-11-2022</a:t>
            </a:fld>
            <a:endParaRPr lang="da-DK" dirty="0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E91502-756A-4244-B8CC-0FD4F7A5EFF5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27718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4 x 400 m. på 2. min 54 sec. = ca. 33 km/t</a:t>
            </a:r>
            <a:r>
              <a:rPr lang="da-DK" baseline="0" dirty="0" smtClean="0"/>
              <a:t>, det går rigtigt stærkt!</a:t>
            </a:r>
          </a:p>
          <a:p>
            <a:r>
              <a:rPr lang="da-DK" baseline="0" dirty="0" smtClean="0"/>
              <a:t>Mit bud er at I også oplever stor travlhed, selv om det ikke nødvendigvis foregår med 33 km/t! </a:t>
            </a:r>
          </a:p>
          <a:p>
            <a:endParaRPr lang="da-DK" baseline="0" dirty="0" smtClean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E91502-756A-4244-B8CC-0FD4F7A5EFF5}" type="slidenum">
              <a:rPr lang="da-DK" smtClean="0"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928526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 Ændres til et opdateret format</a:t>
            </a:r>
          </a:p>
          <a:p>
            <a:endParaRPr lang="da-DK" dirty="0"/>
          </a:p>
          <a:p>
            <a:r>
              <a:rPr lang="da-DK" dirty="0"/>
              <a:t>et program strækker sig reelt over knap 1½ år bygget op over 5 </a:t>
            </a:r>
            <a:r>
              <a:rPr lang="da-DK" dirty="0" err="1"/>
              <a:t>F´ere</a:t>
            </a:r>
            <a:r>
              <a:rPr lang="da-DK" dirty="0"/>
              <a:t> i den røde og de blå bokse – Forudsætning, Fundament, Forberedelse, Forandring og Fastholdelse.</a:t>
            </a:r>
          </a:p>
          <a:p>
            <a:endParaRPr lang="da-DK" dirty="0"/>
          </a:p>
          <a:p>
            <a:r>
              <a:rPr lang="da-DK" dirty="0"/>
              <a:t>= vores fortolkning af rammepapirets budskaber.</a:t>
            </a:r>
          </a:p>
          <a:p>
            <a:endParaRPr lang="da-DK" dirty="0"/>
          </a:p>
          <a:p>
            <a:r>
              <a:rPr lang="da-DK" dirty="0"/>
              <a:t>At vi taler om 1½ år ligger i, at programmet igangsættes efter nytår, hvor sundhedsklyngerne skal til at udpege forbedringstemaer/-initiativer og deltagere.</a:t>
            </a:r>
          </a:p>
          <a:p>
            <a:endParaRPr lang="da-DK" dirty="0"/>
          </a:p>
          <a:p>
            <a:r>
              <a:rPr lang="da-DK" dirty="0"/>
              <a:t>Hvert F bidrager</a:t>
            </a:r>
            <a:r>
              <a:rPr lang="da-DK" baseline="0" dirty="0"/>
              <a:t> til at understøtte deltagerne i at forberede sig, omsætte teori og inspiration til konkret handling og implementering derhjemme.</a:t>
            </a:r>
          </a:p>
          <a:p>
            <a:endParaRPr lang="da-DK" baseline="0" dirty="0"/>
          </a:p>
          <a:p>
            <a:r>
              <a:rPr lang="da-DK" baseline="0" dirty="0"/>
              <a:t>Indholdsmæssigt arbejder vi med IHI, materialet fra programmet 1.0. og har skruet op for organisationsforståelse og ledelse AF forbedringsarbejde – igen belært af erfaringer fra mange hold</a:t>
            </a:r>
          </a:p>
          <a:p>
            <a:endParaRPr lang="da-DK" baseline="0" dirty="0"/>
          </a:p>
          <a:p>
            <a:pPr defTabSz="1263548">
              <a:defRPr/>
            </a:pPr>
            <a:r>
              <a:rPr lang="da-DK" baseline="0" dirty="0"/>
              <a:t>De nederste 3 gule bjælker er således mål og budskaber i indholdet, der går igennem hele programmet – vi vil skrue op og ned for de 3 undervejs, men de vil hele tiden være i spil.</a:t>
            </a:r>
          </a:p>
          <a:p>
            <a:pPr defTabSz="1263548">
              <a:defRPr/>
            </a:pPr>
            <a:r>
              <a:rPr lang="da-DK" baseline="0" dirty="0"/>
              <a:t>Vi har en ambition om at internalisere de 3 i deltagernes </a:t>
            </a:r>
            <a:r>
              <a:rPr lang="da-DK" baseline="0" dirty="0" err="1"/>
              <a:t>mindset</a:t>
            </a:r>
            <a:r>
              <a:rPr lang="da-DK" baseline="0" dirty="0"/>
              <a:t> – forbedringsmetodik versus forbedringsmentalitet</a:t>
            </a:r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35DAE1-4DBC-4EBB-A0F7-2243D879E830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53101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4 x 400 m. på 2. min 54 sec. = ca. 33 km/t</a:t>
            </a:r>
            <a:r>
              <a:rPr lang="da-DK" baseline="0" dirty="0" smtClean="0"/>
              <a:t>, det går rigtigt stærkt!</a:t>
            </a:r>
          </a:p>
          <a:p>
            <a:r>
              <a:rPr lang="da-DK" baseline="0" dirty="0" smtClean="0"/>
              <a:t>Mit bud er at I også oplever stor travlhed, selv om det ikke nødvendigvis foregår med 33 km/t! </a:t>
            </a:r>
          </a:p>
          <a:p>
            <a:endParaRPr lang="da-DK" baseline="0" dirty="0" smtClean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E91502-756A-4244-B8CC-0FD4F7A5EFF5}" type="slidenum">
              <a:rPr lang="da-DK" smtClean="0"/>
              <a:t>1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588835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bin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6.png"/><Relationship Id="rId4" Type="http://schemas.openxmlformats.org/officeDocument/2006/relationships/image" Target="../media/image20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6.pn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6.png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bin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9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0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bin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26.png"/><Relationship Id="rId4" Type="http://schemas.openxmlformats.org/officeDocument/2006/relationships/image" Target="../media/image20.pn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6.png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9.pn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9.png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3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bin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6.png"/><Relationship Id="rId4" Type="http://schemas.openxmlformats.org/officeDocument/2006/relationships/image" Target="../media/image20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bin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6.png"/><Relationship Id="rId4" Type="http://schemas.openxmlformats.org/officeDocument/2006/relationships/image" Target="../media/image20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6.pn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8.jpe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4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5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6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7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9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9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bin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6.png"/><Relationship Id="rId4" Type="http://schemas.openxmlformats.org/officeDocument/2006/relationships/image" Target="../media/image20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0.pn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lede 17">
            <a:extLst>
              <a:ext uri="{FF2B5EF4-FFF2-40B4-BE49-F238E27FC236}">
                <a16:creationId xmlns:a16="http://schemas.microsoft.com/office/drawing/2014/main" id="{0FADFA77-4294-4494-B9BA-9EA84CBE16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943871" y="3152939"/>
            <a:ext cx="6624737" cy="1356181"/>
          </a:xfrm>
        </p:spPr>
        <p:txBody>
          <a:bodyPr anchor="t" anchorCtr="0"/>
          <a:lstStyle>
            <a:lvl1pPr>
              <a:defRPr sz="3600">
                <a:solidFill>
                  <a:srgbClr val="5C818B"/>
                </a:solidFill>
              </a:defRPr>
            </a:lvl1pPr>
          </a:lstStyle>
          <a:p>
            <a:r>
              <a:rPr lang="da-DK" dirty="0"/>
              <a:t>Overskrift 36 pt skrives her i to eller flere linjer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941319" y="4797152"/>
            <a:ext cx="6624737" cy="888504"/>
          </a:xfrm>
        </p:spPr>
        <p:txBody>
          <a:bodyPr/>
          <a:lstStyle>
            <a:lvl1pPr marL="0" indent="0" algn="l">
              <a:lnSpc>
                <a:spcPct val="89000"/>
              </a:lnSpc>
              <a:buNone/>
              <a:defRPr sz="2000" baseline="0">
                <a:solidFill>
                  <a:srgbClr val="5C818B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Underoverskrift 20pt skrives her i to linjer eller max tre linjer</a:t>
            </a:r>
          </a:p>
        </p:txBody>
      </p:sp>
      <p:sp>
        <p:nvSpPr>
          <p:cNvPr id="17" name="text" descr="{&quot;templafy&quot;:{&quot;id&quot;:&quot;5a24f27e-a91f-40e4-9a57-11bca2912093&quot;}}" title="Form.PresentationTitle">
            <a:extLst>
              <a:ext uri="{FF2B5EF4-FFF2-40B4-BE49-F238E27FC236}">
                <a16:creationId xmlns:a16="http://schemas.microsoft.com/office/drawing/2014/main" id="{6E96F3D6-F9A3-4A0A-AF11-9947015BA81A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19" name="text" descr="{&quot;templafy&quot;:{&quot;id&quot;:&quot;27f04b40-1f52-4ad2-8673-19146f74321f&quot;}}" title="UserProfile.Name">
            <a:extLst>
              <a:ext uri="{FF2B5EF4-FFF2-40B4-BE49-F238E27FC236}">
                <a16:creationId xmlns:a16="http://schemas.microsoft.com/office/drawing/2014/main" id="{443C3F1B-6F22-44FD-9D20-8046FEEFD6D9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DB375924-8F1B-4A42-B386-30D658A1EE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40073283-4609-4E3F-B89A-30DFFAA2EA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57804933" name="image" descr="{&quot;templafy&quot;:{&quot;id&quot;:&quot;5a4e4ddd-03a0-48ad-86fc-790885a0b952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29" name="text" descr="{&quot;templafy&quot;:{&quot;id&quot;:&quot;8cc16c53-fb3f-4121-a465-a2a0d08efebd&quot;}}" hidden="1" title="UserProfile.CenterFreeText">
            <a:extLst>
              <a:ext uri="{FF2B5EF4-FFF2-40B4-BE49-F238E27FC236}">
                <a16:creationId xmlns:a16="http://schemas.microsoft.com/office/drawing/2014/main" id="{5A30AC9F-7EFA-48B4-8857-325A6FCD653B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31" name="text" descr="{&quot;templafy&quot;:{&quot;id&quot;:&quot;0ca78db9-1f34-4a6a-b3d5-428e8457d8fb&quot;}}" hidden="1" title="Form.Manuel_dato">
            <a:extLst>
              <a:ext uri="{FF2B5EF4-FFF2-40B4-BE49-F238E27FC236}">
                <a16:creationId xmlns:a16="http://schemas.microsoft.com/office/drawing/2014/main" id="{85898D87-959A-4A63-81D8-7ADE604F6901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39407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dt billed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dsholder til billede 2">
            <a:extLst>
              <a:ext uri="{FF2B5EF4-FFF2-40B4-BE49-F238E27FC236}">
                <a16:creationId xmlns:a16="http://schemas.microsoft.com/office/drawing/2014/main" id="{C870A587-0A3A-42CA-9458-234900FF9E4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1"/>
            <a:ext cx="7468270" cy="6858000"/>
          </a:xfrm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accent6"/>
                </a:solidFill>
              </a:defRPr>
            </a:lvl1pPr>
          </a:lstStyle>
          <a:p>
            <a:r>
              <a:rPr lang="da-DK" dirty="0"/>
              <a:t>Klik på ikon for at indsætte billede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1ADD90D0-F6A3-4F85-A196-6E7F39CAA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84A09467-3A38-402F-9ED6-D89FA586B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3" name="Billede 12" descr="Et billede, der indeholder tekst&#10;&#10;Automatisk genereret beskrivelse">
            <a:extLst>
              <a:ext uri="{FF2B5EF4-FFF2-40B4-BE49-F238E27FC236}">
                <a16:creationId xmlns:a16="http://schemas.microsoft.com/office/drawing/2014/main" id="{2AC27FB6-1C90-4BD0-B5D7-007EE3A66C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35777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 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arvet baggrund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93" dirty="0"/>
          </a:p>
        </p:txBody>
      </p:sp>
      <p:sp>
        <p:nvSpPr>
          <p:cNvPr id="6" name="OFF_logo2Computed"/>
          <p:cNvSpPr txBox="1">
            <a:spLocks noChangeArrowheads="1"/>
          </p:cNvSpPr>
          <p:nvPr userDrawn="1"/>
        </p:nvSpPr>
        <p:spPr bwMode="auto">
          <a:xfrm>
            <a:off x="4393159" y="2520007"/>
            <a:ext cx="7482863" cy="652119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369312" rIns="0" bIns="0">
            <a:spAutoFit/>
          </a:bodyPr>
          <a:lstStyle/>
          <a:p>
            <a:pPr>
              <a:lnSpc>
                <a:spcPct val="105000"/>
              </a:lnSpc>
              <a:defRPr/>
            </a:pPr>
            <a:endParaRPr lang="en-GB" sz="1722" b="0" cap="all" spc="151" baseline="0" dirty="0">
              <a:solidFill>
                <a:schemeClr val="bg1"/>
              </a:solidFill>
              <a:latin typeface="AU Passata" panose="020B0503030502030804" pitchFamily="34" charset="0"/>
            </a:endParaRPr>
          </a:p>
        </p:txBody>
      </p:sp>
      <p:sp>
        <p:nvSpPr>
          <p:cNvPr id="9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11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8"/>
            <a:ext cx="0" cy="578152"/>
          </a:xfrm>
        </p:spPr>
        <p:txBody>
          <a:bodyPr/>
          <a:lstStyle>
            <a:lvl1pPr>
              <a:defRPr sz="147">
                <a:noFill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3FF57DD2-E465-D142-901B-8F8B5CD4A9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5022" y="1218860"/>
            <a:ext cx="12201029" cy="5041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12642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Farvet baggrund"/>
          <p:cNvPicPr preferRelativeResize="0"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34819" name="Title 1"/>
          <p:cNvSpPr>
            <a:spLocks noGrp="1" noChangeArrowheads="1"/>
          </p:cNvSpPr>
          <p:nvPr>
            <p:ph type="ctrTitle"/>
          </p:nvPr>
        </p:nvSpPr>
        <p:spPr>
          <a:xfrm>
            <a:off x="986097" y="2482347"/>
            <a:ext cx="10222987" cy="1661993"/>
          </a:xfrm>
        </p:spPr>
        <p:txBody>
          <a:bodyPr wrap="square" anchor="ctr" anchorCtr="0">
            <a:spAutoFit/>
          </a:bodyPr>
          <a:lstStyle>
            <a:lvl1pPr>
              <a:lnSpc>
                <a:spcPct val="90000"/>
              </a:lnSpc>
              <a:defRPr sz="5989" baseline="0">
                <a:solidFill>
                  <a:schemeClr val="bg1"/>
                </a:solidFill>
                <a:latin typeface="AU Passata Light" panose="020B03030309020308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1974112" y="3082510"/>
            <a:ext cx="182636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Ændr 2. linje eller ord til</a:t>
            </a:r>
            <a:endParaRPr lang="en-GB" sz="1797" dirty="0">
              <a:solidFill>
                <a:srgbClr val="000000"/>
              </a:solidFill>
              <a:latin typeface="AU Passata"/>
            </a:endParaRPr>
          </a:p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AU Passata Bold</a:t>
            </a:r>
            <a:endParaRPr lang="en-GB" sz="4790" dirty="0">
              <a:solidFill>
                <a:srgbClr val="000000"/>
              </a:solidFill>
              <a:latin typeface="AU Passata"/>
            </a:endParaRPr>
          </a:p>
        </p:txBody>
      </p:sp>
      <p:pic>
        <p:nvPicPr>
          <p:cNvPr id="14" name="Logo BS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7" y="5997604"/>
            <a:ext cx="600892" cy="601199"/>
          </a:xfrm>
          <a:prstGeom prst="rect">
            <a:avLst/>
          </a:prstGeom>
        </p:spPr>
      </p:pic>
      <p:sp>
        <p:nvSpPr>
          <p:cNvPr id="16" name="OFF_logo2Computed"/>
          <p:cNvSpPr txBox="1">
            <a:spLocks noChangeArrowheads="1"/>
          </p:cNvSpPr>
          <p:nvPr userDrawn="1"/>
        </p:nvSpPr>
        <p:spPr bwMode="auto">
          <a:xfrm>
            <a:off x="972256" y="5997604"/>
            <a:ext cx="2350657" cy="447851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68887" rIns="0" bIns="0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898" cap="all" spc="40" dirty="0">
              <a:solidFill>
                <a:srgbClr val="FFFFFF"/>
              </a:solidFill>
              <a:latin typeface="AU Passata"/>
            </a:endParaRP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898" cap="all" spc="40" dirty="0">
              <a:solidFill>
                <a:srgbClr val="FFFFFF"/>
              </a:solidFill>
              <a:latin typeface="AU Passata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5" name="OFF_logo1Computed">
            <a:extLst>
              <a:ext uri="{FF2B5EF4-FFF2-40B4-BE49-F238E27FC236}">
                <a16:creationId xmlns:a16="http://schemas.microsoft.com/office/drawing/2014/main" id="{76394C7A-7F05-BF47-B9F2-31A5C83539FE}"/>
              </a:ext>
            </a:extLst>
          </p:cNvPr>
          <p:cNvSpPr/>
          <p:nvPr userDrawn="1"/>
        </p:nvSpPr>
        <p:spPr bwMode="auto">
          <a:xfrm>
            <a:off x="972255" y="6007006"/>
            <a:ext cx="1866381" cy="590083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35933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00000"/>
              </a:lnSpc>
            </a:pPr>
            <a:endParaRPr lang="en-GB" sz="898" b="1" cap="all" noProof="1">
              <a:solidFill>
                <a:srgbClr val="FFFFFF"/>
              </a:solidFill>
            </a:endParaRPr>
          </a:p>
          <a:p>
            <a:pPr>
              <a:lnSpc>
                <a:spcPct val="100000"/>
              </a:lnSpc>
            </a:pPr>
            <a:endParaRPr lang="en-GB" sz="898" b="1" cap="all" noProof="1">
              <a:solidFill>
                <a:srgbClr val="FFFFFF"/>
              </a:solidFill>
            </a:endParaRPr>
          </a:p>
          <a:p>
            <a:pPr>
              <a:lnSpc>
                <a:spcPct val="100000"/>
              </a:lnSpc>
            </a:pPr>
            <a:r>
              <a:rPr lang="en-GB" sz="898" b="1" cap="all" noProof="1">
                <a:solidFill>
                  <a:srgbClr val="FFFFFF"/>
                </a:solidFill>
              </a:rPr>
              <a:t>INSTITUT FOR STATSKUNDSKAB</a:t>
            </a:r>
          </a:p>
          <a:p>
            <a:pPr>
              <a:lnSpc>
                <a:spcPct val="100000"/>
              </a:lnSpc>
            </a:pPr>
            <a:r>
              <a:rPr lang="en-GB" sz="898" cap="all" noProof="1">
                <a:solidFill>
                  <a:srgbClr val="FFFFFF"/>
                </a:solidFill>
              </a:rPr>
              <a:t>AARHUS UNIVERSITET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3F20AD3C-DDCD-3743-AC79-5A832C88AA4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7431" y="-6149641"/>
            <a:ext cx="10629138" cy="12199072"/>
          </a:xfrm>
          <a:prstGeom prst="rect">
            <a:avLst/>
          </a:prstGeom>
        </p:spPr>
      </p:pic>
      <p:pic>
        <p:nvPicPr>
          <p:cNvPr id="20" name="Billede 19">
            <a:extLst>
              <a:ext uri="{FF2B5EF4-FFF2-40B4-BE49-F238E27FC236}">
                <a16:creationId xmlns:a16="http://schemas.microsoft.com/office/drawing/2014/main" id="{F39DCE25-406B-F849-971B-3B95A143E51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509" y="5557204"/>
            <a:ext cx="3817418" cy="175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79055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arvet baggrund"/>
          <p:cNvSpPr/>
          <p:nvPr userDrawn="1"/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0" dirty="0">
              <a:solidFill>
                <a:srgbClr val="FFFFFF"/>
              </a:solidFill>
            </a:endParaRPr>
          </a:p>
        </p:txBody>
      </p:sp>
      <p:sp>
        <p:nvSpPr>
          <p:cNvPr id="19" name="White Top Rectangle"/>
          <p:cNvSpPr>
            <a:spLocks noChangeArrowheads="1"/>
          </p:cNvSpPr>
          <p:nvPr userDrawn="1"/>
        </p:nvSpPr>
        <p:spPr bwMode="auto">
          <a:xfrm>
            <a:off x="986097" y="3443622"/>
            <a:ext cx="648169" cy="46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4790" dirty="0">
              <a:solidFill>
                <a:srgbClr val="000000"/>
              </a:solidFill>
              <a:latin typeface="AU Passata"/>
            </a:endParaRPr>
          </a:p>
        </p:txBody>
      </p:sp>
      <p:sp>
        <p:nvSpPr>
          <p:cNvPr id="34819" name="Title 1"/>
          <p:cNvSpPr>
            <a:spLocks noGrp="1" noChangeArrowheads="1"/>
          </p:cNvSpPr>
          <p:nvPr>
            <p:ph type="ctrTitle"/>
          </p:nvPr>
        </p:nvSpPr>
        <p:spPr>
          <a:xfrm>
            <a:off x="982102" y="1520319"/>
            <a:ext cx="9545793" cy="1779553"/>
          </a:xfrm>
        </p:spPr>
        <p:txBody>
          <a:bodyPr wrap="square" anchor="b" anchorCtr="0">
            <a:noAutofit/>
          </a:bodyPr>
          <a:lstStyle>
            <a:lvl1pPr>
              <a:lnSpc>
                <a:spcPct val="90000"/>
              </a:lnSpc>
              <a:defRPr sz="5989" baseline="0">
                <a:solidFill>
                  <a:schemeClr val="bg1"/>
                </a:solidFill>
                <a:latin typeface="AU Passata Light" panose="020B03030309020308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86097" y="3715435"/>
            <a:ext cx="7163077" cy="1746085"/>
          </a:xfrm>
        </p:spPr>
        <p:txBody>
          <a:bodyPr/>
          <a:lstStyle>
            <a:lvl1pPr marL="0" indent="0">
              <a:lnSpc>
                <a:spcPct val="101000"/>
              </a:lnSpc>
              <a:buFontTx/>
              <a:buNone/>
              <a:defRPr sz="2695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2160915" y="2132856"/>
            <a:ext cx="2013173" cy="738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Ændr 2. linje i overskriften </a:t>
            </a:r>
            <a:b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</a:b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til AU Passata bold</a:t>
            </a:r>
            <a:endParaRPr lang="en-GB" sz="4790" dirty="0">
              <a:solidFill>
                <a:srgbClr val="000000"/>
              </a:solidFill>
              <a:latin typeface="AU Passata"/>
            </a:endParaRPr>
          </a:p>
        </p:txBody>
      </p:sp>
      <p:pic>
        <p:nvPicPr>
          <p:cNvPr id="23" name="Billede stre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4784" y="5997604"/>
            <a:ext cx="71753" cy="557999"/>
          </a:xfrm>
          <a:prstGeom prst="rect">
            <a:avLst/>
          </a:prstGeom>
        </p:spPr>
      </p:pic>
      <p:pic>
        <p:nvPicPr>
          <p:cNvPr id="18" name="Logo BS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7" y="5997604"/>
            <a:ext cx="600892" cy="601199"/>
          </a:xfrm>
          <a:prstGeom prst="rect">
            <a:avLst/>
          </a:prstGeom>
        </p:spPr>
      </p:pic>
      <p:sp>
        <p:nvSpPr>
          <p:cNvPr id="17" name="OFF_logo2Computed"/>
          <p:cNvSpPr txBox="1">
            <a:spLocks noChangeArrowheads="1"/>
          </p:cNvSpPr>
          <p:nvPr userDrawn="1"/>
        </p:nvSpPr>
        <p:spPr bwMode="auto">
          <a:xfrm>
            <a:off x="972256" y="5997604"/>
            <a:ext cx="2350657" cy="447851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68887" rIns="0" bIns="0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898" cap="all" spc="40" dirty="0">
              <a:solidFill>
                <a:srgbClr val="FFFFFF"/>
              </a:solidFill>
              <a:latin typeface="AU Passata"/>
            </a:endParaRP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898" cap="all" spc="40" dirty="0">
              <a:solidFill>
                <a:srgbClr val="FFFFFF"/>
              </a:solidFill>
              <a:latin typeface="AU Passata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0" name="Date_DateCustomA">
            <a:extLst>
              <a:ext uri="{FF2B5EF4-FFF2-40B4-BE49-F238E27FC236}">
                <a16:creationId xmlns:a16="http://schemas.microsoft.com/office/drawing/2014/main" id="{83B87CDF-1545-A043-B2EF-A5E40790EFA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92294" y="5997600"/>
            <a:ext cx="2272432" cy="58217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474320" rIns="0" bIns="0" anchor="t" anchorCtr="0">
            <a:spAutoFit/>
          </a:bodyPr>
          <a:lstStyle/>
          <a:p>
            <a:pPr algn="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GB" sz="699" cap="all" dirty="0">
                <a:solidFill>
                  <a:srgbClr val="FFFFFF"/>
                </a:solidFill>
                <a:latin typeface="AU Passata"/>
              </a:rPr>
              <a:t>DATO</a:t>
            </a:r>
          </a:p>
        </p:txBody>
      </p:sp>
      <p:sp>
        <p:nvSpPr>
          <p:cNvPr id="31" name="USR_Title">
            <a:extLst>
              <a:ext uri="{FF2B5EF4-FFF2-40B4-BE49-F238E27FC236}">
                <a16:creationId xmlns:a16="http://schemas.microsoft.com/office/drawing/2014/main" id="{51751D24-1EC3-FC45-B4C5-2E3E1ABB8D1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241669" y="5997600"/>
            <a:ext cx="2983193" cy="58217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lIns="0" tIns="474320" rIns="0" bIns="0" anchor="t" anchorCtr="0">
            <a:spAutoFit/>
          </a:bodyPr>
          <a:lstStyle/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GB" sz="699" cap="all" dirty="0">
                <a:solidFill>
                  <a:srgbClr val="FFFFFF"/>
                </a:solidFill>
                <a:latin typeface="AU Passata"/>
              </a:rPr>
              <a:t>TITEL</a:t>
            </a:r>
          </a:p>
        </p:txBody>
      </p:sp>
      <p:sp>
        <p:nvSpPr>
          <p:cNvPr id="32" name="FLD_Event">
            <a:extLst>
              <a:ext uri="{FF2B5EF4-FFF2-40B4-BE49-F238E27FC236}">
                <a16:creationId xmlns:a16="http://schemas.microsoft.com/office/drawing/2014/main" id="{06090CB5-1AD5-8847-A56B-49392981F75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92294" y="5997600"/>
            <a:ext cx="2272432" cy="44767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341367" rIns="0" bIns="0" anchor="t" anchorCtr="0">
            <a:spAutoFit/>
          </a:bodyPr>
          <a:lstStyle/>
          <a:p>
            <a:pPr algn="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GB" sz="699" cap="all" dirty="0">
                <a:solidFill>
                  <a:srgbClr val="FFFFFF"/>
                </a:solidFill>
              </a:rPr>
              <a:t>EVENT</a:t>
            </a:r>
          </a:p>
        </p:txBody>
      </p:sp>
      <p:sp>
        <p:nvSpPr>
          <p:cNvPr id="33" name="USR_Name">
            <a:extLst>
              <a:ext uri="{FF2B5EF4-FFF2-40B4-BE49-F238E27FC236}">
                <a16:creationId xmlns:a16="http://schemas.microsoft.com/office/drawing/2014/main" id="{7E4960BF-7EFE-7246-811D-2E2E30BDEF9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241669" y="5997600"/>
            <a:ext cx="2983193" cy="444040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lIns="0" tIns="341367" rIns="0" bIns="0" anchor="t" anchorCtr="0">
            <a:spAutoFit/>
          </a:bodyPr>
          <a:lstStyle/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GB" sz="699" cap="all" dirty="0">
                <a:solidFill>
                  <a:srgbClr val="FFFFFF"/>
                </a:solidFill>
                <a:latin typeface="AU Passata"/>
              </a:rPr>
              <a:t>NAVN</a:t>
            </a:r>
          </a:p>
        </p:txBody>
      </p:sp>
      <p:sp>
        <p:nvSpPr>
          <p:cNvPr id="34" name="OFF_logo1Computed">
            <a:extLst>
              <a:ext uri="{FF2B5EF4-FFF2-40B4-BE49-F238E27FC236}">
                <a16:creationId xmlns:a16="http://schemas.microsoft.com/office/drawing/2014/main" id="{D90FCB66-191C-9349-8604-080297494FC7}"/>
              </a:ext>
            </a:extLst>
          </p:cNvPr>
          <p:cNvSpPr/>
          <p:nvPr userDrawn="1"/>
        </p:nvSpPr>
        <p:spPr bwMode="auto">
          <a:xfrm>
            <a:off x="972255" y="6007006"/>
            <a:ext cx="1866381" cy="590083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35933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00000"/>
              </a:lnSpc>
            </a:pPr>
            <a:endParaRPr lang="en-GB" sz="898" b="1" cap="all" noProof="1">
              <a:solidFill>
                <a:srgbClr val="FFFFFF"/>
              </a:solidFill>
            </a:endParaRPr>
          </a:p>
          <a:p>
            <a:pPr>
              <a:lnSpc>
                <a:spcPct val="100000"/>
              </a:lnSpc>
            </a:pPr>
            <a:endParaRPr lang="en-GB" sz="898" b="1" cap="all" noProof="1">
              <a:solidFill>
                <a:srgbClr val="FFFFFF"/>
              </a:solidFill>
            </a:endParaRPr>
          </a:p>
          <a:p>
            <a:pPr>
              <a:lnSpc>
                <a:spcPct val="100000"/>
              </a:lnSpc>
            </a:pPr>
            <a:r>
              <a:rPr lang="en-GB" sz="898" b="1" cap="all" noProof="1">
                <a:solidFill>
                  <a:srgbClr val="FFFFFF"/>
                </a:solidFill>
              </a:rPr>
              <a:t>INSTITUT FOR STATSKUNDSKAB</a:t>
            </a:r>
          </a:p>
          <a:p>
            <a:pPr>
              <a:lnSpc>
                <a:spcPct val="100000"/>
              </a:lnSpc>
            </a:pPr>
            <a:r>
              <a:rPr lang="en-GB" sz="898" cap="all" noProof="1">
                <a:solidFill>
                  <a:srgbClr val="FFFFFF"/>
                </a:solidFill>
              </a:rPr>
              <a:t>AARHUS UNIVERSITET</a:t>
            </a:r>
          </a:p>
        </p:txBody>
      </p:sp>
      <p:pic>
        <p:nvPicPr>
          <p:cNvPr id="24" name="Billede 23">
            <a:extLst>
              <a:ext uri="{FF2B5EF4-FFF2-40B4-BE49-F238E27FC236}">
                <a16:creationId xmlns:a16="http://schemas.microsoft.com/office/drawing/2014/main" id="{F807BD2F-53D4-0B48-9E07-8F17CB30AE6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509" y="5557204"/>
            <a:ext cx="3817418" cy="175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06024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arvet baggrund"/>
          <p:cNvSpPr/>
          <p:nvPr userDrawn="1"/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0" dirty="0">
              <a:solidFill>
                <a:srgbClr val="FFFFFF"/>
              </a:solidFill>
            </a:endParaRPr>
          </a:p>
        </p:txBody>
      </p:sp>
      <p:sp>
        <p:nvSpPr>
          <p:cNvPr id="34819" name="Title 1"/>
          <p:cNvSpPr>
            <a:spLocks noGrp="1" noChangeArrowheads="1"/>
          </p:cNvSpPr>
          <p:nvPr>
            <p:ph type="ctrTitle"/>
          </p:nvPr>
        </p:nvSpPr>
        <p:spPr>
          <a:xfrm>
            <a:off x="986097" y="2482347"/>
            <a:ext cx="10222987" cy="1661993"/>
          </a:xfrm>
        </p:spPr>
        <p:txBody>
          <a:bodyPr wrap="square" anchor="ctr" anchorCtr="0">
            <a:spAutoFit/>
          </a:bodyPr>
          <a:lstStyle>
            <a:lvl1pPr>
              <a:lnSpc>
                <a:spcPct val="90000"/>
              </a:lnSpc>
              <a:defRPr sz="5989" baseline="0">
                <a:solidFill>
                  <a:schemeClr val="bg1"/>
                </a:solidFill>
                <a:latin typeface="AU Passata Light" panose="020B03030309020308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1974112" y="3082510"/>
            <a:ext cx="182636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Ændr 2. linje eller ord til</a:t>
            </a:r>
            <a:endParaRPr lang="en-GB" sz="1797" dirty="0">
              <a:solidFill>
                <a:srgbClr val="000000"/>
              </a:solidFill>
              <a:latin typeface="AU Passata"/>
            </a:endParaRPr>
          </a:p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AU Passata Bold</a:t>
            </a:r>
            <a:endParaRPr lang="en-GB" sz="4790" dirty="0">
              <a:solidFill>
                <a:srgbClr val="000000"/>
              </a:solidFill>
              <a:latin typeface="AU Passata"/>
            </a:endParaRPr>
          </a:p>
        </p:txBody>
      </p:sp>
      <p:pic>
        <p:nvPicPr>
          <p:cNvPr id="23" name="Billed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4784" y="5997604"/>
            <a:ext cx="71753" cy="557999"/>
          </a:xfrm>
          <a:prstGeom prst="rect">
            <a:avLst/>
          </a:prstGeom>
        </p:spPr>
      </p:pic>
      <p:pic>
        <p:nvPicPr>
          <p:cNvPr id="16" name="Logo BS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7" y="5997604"/>
            <a:ext cx="600892" cy="601199"/>
          </a:xfrm>
          <a:prstGeom prst="rect">
            <a:avLst/>
          </a:prstGeom>
        </p:spPr>
      </p:pic>
      <p:sp>
        <p:nvSpPr>
          <p:cNvPr id="17" name="OFF_logo2Computed"/>
          <p:cNvSpPr txBox="1">
            <a:spLocks noChangeArrowheads="1"/>
          </p:cNvSpPr>
          <p:nvPr userDrawn="1"/>
        </p:nvSpPr>
        <p:spPr bwMode="auto">
          <a:xfrm>
            <a:off x="972256" y="5997604"/>
            <a:ext cx="2350657" cy="447851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68887" rIns="0" bIns="0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898" cap="all" spc="40" dirty="0">
              <a:solidFill>
                <a:srgbClr val="FFFFFF"/>
              </a:solidFill>
              <a:latin typeface="AU Passata"/>
            </a:endParaRP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898" cap="all" spc="40" dirty="0">
              <a:solidFill>
                <a:srgbClr val="FFFFFF"/>
              </a:solidFill>
              <a:latin typeface="AU Passata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9" name="Date_DateCustomA">
            <a:extLst>
              <a:ext uri="{FF2B5EF4-FFF2-40B4-BE49-F238E27FC236}">
                <a16:creationId xmlns:a16="http://schemas.microsoft.com/office/drawing/2014/main" id="{39E94D8C-5906-5243-B2B8-14863ACA416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92294" y="5997600"/>
            <a:ext cx="2272432" cy="58217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474320" rIns="0" bIns="0" anchor="t" anchorCtr="0">
            <a:spAutoFit/>
          </a:bodyPr>
          <a:lstStyle/>
          <a:p>
            <a:pPr algn="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GB" sz="699" cap="all" dirty="0">
                <a:solidFill>
                  <a:srgbClr val="FFFFFF"/>
                </a:solidFill>
                <a:latin typeface="AU Passata"/>
              </a:rPr>
              <a:t>DATE</a:t>
            </a:r>
          </a:p>
        </p:txBody>
      </p:sp>
      <p:sp>
        <p:nvSpPr>
          <p:cNvPr id="20" name="USR_Title">
            <a:extLst>
              <a:ext uri="{FF2B5EF4-FFF2-40B4-BE49-F238E27FC236}">
                <a16:creationId xmlns:a16="http://schemas.microsoft.com/office/drawing/2014/main" id="{C89BF9DB-1346-114F-9332-18E99C5D2C0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241669" y="5997600"/>
            <a:ext cx="2983193" cy="58217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lIns="0" tIns="474320" rIns="0" bIns="0" anchor="t" anchorCtr="0">
            <a:spAutoFit/>
          </a:bodyPr>
          <a:lstStyle/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GB" sz="699" cap="all" dirty="0">
                <a:solidFill>
                  <a:srgbClr val="FFFFFF"/>
                </a:solidFill>
                <a:latin typeface="AU Passata"/>
              </a:rPr>
              <a:t>TITLE</a:t>
            </a:r>
          </a:p>
        </p:txBody>
      </p:sp>
      <p:sp>
        <p:nvSpPr>
          <p:cNvPr id="21" name="FLD_Event">
            <a:extLst>
              <a:ext uri="{FF2B5EF4-FFF2-40B4-BE49-F238E27FC236}">
                <a16:creationId xmlns:a16="http://schemas.microsoft.com/office/drawing/2014/main" id="{9D885253-00F6-4B48-A022-D4BA3A36F2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92294" y="5997600"/>
            <a:ext cx="2272432" cy="44767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341367" rIns="0" bIns="0" anchor="t" anchorCtr="0">
            <a:spAutoFit/>
          </a:bodyPr>
          <a:lstStyle/>
          <a:p>
            <a:pPr algn="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GB" sz="699" cap="all" dirty="0">
                <a:solidFill>
                  <a:srgbClr val="FFFFFF"/>
                </a:solidFill>
              </a:rPr>
              <a:t>EVENT</a:t>
            </a:r>
          </a:p>
        </p:txBody>
      </p:sp>
      <p:sp>
        <p:nvSpPr>
          <p:cNvPr id="24" name="USR_Name">
            <a:extLst>
              <a:ext uri="{FF2B5EF4-FFF2-40B4-BE49-F238E27FC236}">
                <a16:creationId xmlns:a16="http://schemas.microsoft.com/office/drawing/2014/main" id="{906037FE-CD0B-D246-ADAE-BD593819FD9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241669" y="5997600"/>
            <a:ext cx="2983193" cy="444040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lIns="0" tIns="341367" rIns="0" bIns="0" anchor="t" anchorCtr="0">
            <a:spAutoFit/>
          </a:bodyPr>
          <a:lstStyle/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GB" sz="699" cap="all" dirty="0">
                <a:solidFill>
                  <a:srgbClr val="FFFFFF"/>
                </a:solidFill>
                <a:latin typeface="AU Passata"/>
              </a:rPr>
              <a:t>NAME</a:t>
            </a:r>
          </a:p>
        </p:txBody>
      </p:sp>
      <p:sp>
        <p:nvSpPr>
          <p:cNvPr id="30" name="OFF_logo1Computed">
            <a:extLst>
              <a:ext uri="{FF2B5EF4-FFF2-40B4-BE49-F238E27FC236}">
                <a16:creationId xmlns:a16="http://schemas.microsoft.com/office/drawing/2014/main" id="{8A93CCFD-650B-1341-8C31-3270BB6359CF}"/>
              </a:ext>
            </a:extLst>
          </p:cNvPr>
          <p:cNvSpPr/>
          <p:nvPr userDrawn="1"/>
        </p:nvSpPr>
        <p:spPr bwMode="auto">
          <a:xfrm>
            <a:off x="972254" y="6007006"/>
            <a:ext cx="2180652" cy="590083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35933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00000"/>
              </a:lnSpc>
            </a:pPr>
            <a:endParaRPr lang="en-GB" sz="898" b="1" cap="all" noProof="1">
              <a:solidFill>
                <a:srgbClr val="FFFFFF"/>
              </a:solidFill>
            </a:endParaRPr>
          </a:p>
          <a:p>
            <a:pPr>
              <a:lnSpc>
                <a:spcPct val="100000"/>
              </a:lnSpc>
            </a:pPr>
            <a:endParaRPr lang="en-GB" sz="898" b="1" cap="all" noProof="1">
              <a:solidFill>
                <a:srgbClr val="FFFFFF"/>
              </a:solidFill>
            </a:endParaRPr>
          </a:p>
          <a:p>
            <a:pPr>
              <a:lnSpc>
                <a:spcPct val="100000"/>
              </a:lnSpc>
            </a:pPr>
            <a:r>
              <a:rPr lang="en-GB" sz="898" b="1" cap="all" noProof="1">
                <a:solidFill>
                  <a:srgbClr val="FFFFFF"/>
                </a:solidFill>
              </a:rPr>
              <a:t>DEPARTMENT OF POLITICAL SCIENCE</a:t>
            </a:r>
          </a:p>
          <a:p>
            <a:pPr>
              <a:lnSpc>
                <a:spcPct val="100000"/>
              </a:lnSpc>
            </a:pPr>
            <a:r>
              <a:rPr lang="en-GB" sz="898" cap="all" noProof="1">
                <a:solidFill>
                  <a:srgbClr val="FFFFFF"/>
                </a:solidFill>
              </a:rPr>
              <a:t>AARHUS UNIVERSITY</a:t>
            </a:r>
          </a:p>
        </p:txBody>
      </p:sp>
      <p:pic>
        <p:nvPicPr>
          <p:cNvPr id="25" name="Billede 24">
            <a:extLst>
              <a:ext uri="{FF2B5EF4-FFF2-40B4-BE49-F238E27FC236}">
                <a16:creationId xmlns:a16="http://schemas.microsoft.com/office/drawing/2014/main" id="{2089D777-7D3E-D24B-874B-DE85152B78C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509" y="5557204"/>
            <a:ext cx="3817418" cy="175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10053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6097" y="1960079"/>
            <a:ext cx="10222987" cy="3937484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-1974112" y="340165"/>
            <a:ext cx="1826368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Overskrift to linjer </a:t>
            </a:r>
            <a:endParaRPr lang="en-GB" sz="1797" dirty="0">
              <a:solidFill>
                <a:srgbClr val="000000"/>
              </a:solidFill>
              <a:latin typeface="AU Passata"/>
            </a:endParaRPr>
          </a:p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ændr 2. linje til</a:t>
            </a:r>
            <a:endParaRPr lang="en-GB" sz="1797" dirty="0">
              <a:solidFill>
                <a:srgbClr val="000000"/>
              </a:solidFill>
              <a:latin typeface="AU Passata"/>
            </a:endParaRPr>
          </a:p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AU Passata Bold</a:t>
            </a:r>
            <a:endParaRPr lang="en-GB" sz="4790" dirty="0">
              <a:solidFill>
                <a:srgbClr val="000000"/>
              </a:solidFill>
              <a:latin typeface="AU Passata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579545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ine title and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vid baggrund"/>
          <p:cNvSpPr/>
          <p:nvPr userDrawn="1"/>
        </p:nvSpPr>
        <p:spPr bwMode="auto">
          <a:xfrm>
            <a:off x="0" y="0"/>
            <a:ext cx="12196376" cy="5894387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271" tIns="45635" rIns="91271" bIns="4563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GB" sz="1597" dirty="0">
              <a:solidFill>
                <a:srgbClr val="FFFFFF"/>
              </a:solidFill>
            </a:endParaRPr>
          </a:p>
        </p:txBody>
      </p:sp>
      <p:sp>
        <p:nvSpPr>
          <p:cNvPr id="16" name="Black Rectangle"/>
          <p:cNvSpPr/>
          <p:nvPr userDrawn="1"/>
        </p:nvSpPr>
        <p:spPr>
          <a:xfrm>
            <a:off x="990258" y="1045685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0" dirty="0">
              <a:solidFill>
                <a:srgbClr val="FFFFFF"/>
              </a:solidFill>
            </a:endParaRPr>
          </a:p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0" dirty="0">
              <a:solidFill>
                <a:srgbClr val="FFFFFF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15995" y="228630"/>
            <a:ext cx="11559010" cy="752101"/>
          </a:xfrm>
        </p:spPr>
        <p:txBody>
          <a:bodyPr anchor="t" anchorCtr="0"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6097" y="1373021"/>
            <a:ext cx="10222987" cy="4521366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18" name="TextBox 17"/>
          <p:cNvSpPr txBox="1"/>
          <p:nvPr userDrawn="1"/>
        </p:nvSpPr>
        <p:spPr>
          <a:xfrm>
            <a:off x="-1974112" y="340165"/>
            <a:ext cx="182636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Overskrift én linje</a:t>
            </a:r>
            <a:endParaRPr lang="en-GB" sz="1797" dirty="0">
              <a:solidFill>
                <a:srgbClr val="000000"/>
              </a:solidFill>
              <a:latin typeface="AU Passata"/>
            </a:endParaRPr>
          </a:p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Light eller AU Passata Bold</a:t>
            </a:r>
            <a:endParaRPr lang="en-GB" sz="4790" dirty="0">
              <a:solidFill>
                <a:srgbClr val="000000"/>
              </a:solidFill>
              <a:latin typeface="AU Passata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4791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00000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vid baggrund"/>
          <p:cNvSpPr/>
          <p:nvPr userDrawn="1"/>
        </p:nvSpPr>
        <p:spPr bwMode="auto">
          <a:xfrm>
            <a:off x="0" y="0"/>
            <a:ext cx="12196376" cy="5911200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271" tIns="45635" rIns="91271" bIns="4563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GB" sz="1597" dirty="0">
              <a:solidFill>
                <a:srgbClr val="FFFFFF"/>
              </a:solidFill>
            </a:endParaRPr>
          </a:p>
        </p:txBody>
      </p:sp>
      <p:sp>
        <p:nvSpPr>
          <p:cNvPr id="15" name="Black Rectangle"/>
          <p:cNvSpPr/>
          <p:nvPr userDrawn="1"/>
        </p:nvSpPr>
        <p:spPr>
          <a:xfrm>
            <a:off x="990258" y="1045685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0" dirty="0">
              <a:solidFill>
                <a:srgbClr val="FFFFFF"/>
              </a:solidFill>
            </a:endParaRPr>
          </a:p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6885" y="230400"/>
            <a:ext cx="5645733" cy="752400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GB" dirty="0"/>
              <a:t>Insert title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986097" y="1371601"/>
            <a:ext cx="4976521" cy="4525964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31821" y="315913"/>
            <a:ext cx="5645580" cy="558165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-1974112" y="340165"/>
            <a:ext cx="182636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Overskrift én linje</a:t>
            </a:r>
            <a:endParaRPr lang="en-GB" sz="1797" dirty="0">
              <a:solidFill>
                <a:srgbClr val="000000"/>
              </a:solidFill>
              <a:latin typeface="AU Passata"/>
            </a:endParaRPr>
          </a:p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Light eller AU Passata Bold</a:t>
            </a:r>
            <a:endParaRPr lang="en-GB" sz="4790" dirty="0">
              <a:solidFill>
                <a:srgbClr val="000000"/>
              </a:solidFill>
              <a:latin typeface="AU Passata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878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4">
          <p15:clr>
            <a:srgbClr val="A4A3A4"/>
          </p15:clr>
        </p15:guide>
        <p15:guide id="2" pos="3755">
          <p15:clr>
            <a:srgbClr val="A4A3A4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al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vid baggrund"/>
          <p:cNvSpPr/>
          <p:nvPr userDrawn="1"/>
        </p:nvSpPr>
        <p:spPr bwMode="auto">
          <a:xfrm>
            <a:off x="0" y="4"/>
            <a:ext cx="12196376" cy="5911011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271" tIns="45635" rIns="91271" bIns="4563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GB" sz="1597" dirty="0">
              <a:solidFill>
                <a:srgbClr val="FFFFFF"/>
              </a:solidFill>
            </a:endParaRPr>
          </a:p>
        </p:txBody>
      </p:sp>
      <p:sp>
        <p:nvSpPr>
          <p:cNvPr id="15" name="Black Rectangle"/>
          <p:cNvSpPr/>
          <p:nvPr userDrawn="1"/>
        </p:nvSpPr>
        <p:spPr>
          <a:xfrm>
            <a:off x="1001336" y="2694542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0" dirty="0">
              <a:solidFill>
                <a:srgbClr val="FFFFFF"/>
              </a:solidFill>
            </a:endParaRPr>
          </a:p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097" y="1484784"/>
            <a:ext cx="4976521" cy="971980"/>
          </a:xfrm>
        </p:spPr>
        <p:txBody>
          <a:bodyPr anchor="b" anchorCtr="0"/>
          <a:lstStyle>
            <a:lvl1pPr>
              <a:lnSpc>
                <a:spcPct val="95000"/>
              </a:lnSpc>
              <a:defRPr sz="2994">
                <a:latin typeface="+mn-lt"/>
              </a:defRPr>
            </a:lvl1pPr>
          </a:lstStyle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986097" y="3010712"/>
            <a:ext cx="4976521" cy="1858449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dirty="0"/>
              <a:t>6</a:t>
            </a:r>
            <a:endParaRPr lang="en-GB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33223" y="315913"/>
            <a:ext cx="5646270" cy="55836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-1974112" y="1780882"/>
            <a:ext cx="182636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Overskrift to linjer</a:t>
            </a:r>
            <a:endParaRPr lang="en-GB" sz="1797" dirty="0">
              <a:solidFill>
                <a:srgbClr val="000000"/>
              </a:solidFill>
              <a:latin typeface="AU Passata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7930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0">
          <p15:clr>
            <a:srgbClr val="A4A3A4"/>
          </p15:clr>
        </p15:guide>
        <p15:guide id="2" pos="3755">
          <p15:clr>
            <a:srgbClr val="A4A3A4"/>
          </p15:clr>
        </p15:guide>
        <p15:guide id="3" orient="horz" pos="3069">
          <p15:clr>
            <a:srgbClr val="A4A3A4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"/>
          <p:cNvSpPr>
            <a:spLocks noGrp="1"/>
          </p:cNvSpPr>
          <p:nvPr>
            <p:ph type="pic" sz="quarter" idx="11" hasCustomPrompt="1"/>
          </p:nvPr>
        </p:nvSpPr>
        <p:spPr>
          <a:xfrm>
            <a:off x="316885" y="316800"/>
            <a:ext cx="11562611" cy="55836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244192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1" hasCustomPrompt="1"/>
          </p:nvPr>
        </p:nvSpPr>
        <p:spPr>
          <a:xfrm>
            <a:off x="316883" y="316800"/>
            <a:ext cx="5646270" cy="55836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233223" y="316800"/>
            <a:ext cx="5646270" cy="55836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5040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4">
          <p15:clr>
            <a:srgbClr val="A4A3A4"/>
          </p15:clr>
        </p15:guide>
        <p15:guide id="2" pos="3754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ast overskrift"/>
          <p:cNvSpPr txBox="1"/>
          <p:nvPr userDrawn="1"/>
        </p:nvSpPr>
        <p:spPr>
          <a:xfrm>
            <a:off x="539748" y="539751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6" name="Text Box 2">
            <a:extLst>
              <a:ext uri="{FF2B5EF4-FFF2-40B4-BE49-F238E27FC236}">
                <a16:creationId xmlns:a16="http://schemas.microsoft.com/office/drawing/2014/main" id="{9ED1F91D-CAD7-4803-B48E-26A1E9D134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58800" y="1479519"/>
            <a:ext cx="2280360" cy="38472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9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9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9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Ændre slide layouts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pilen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ed siden af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få vist en dropdown menu af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ige slides layout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dit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værende layout til et alternativt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</a:t>
            </a: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1 Forøg formindsk">
            <a:extLst>
              <a:ext uri="{FF2B5EF4-FFF2-40B4-BE49-F238E27FC236}">
                <a16:creationId xmlns:a16="http://schemas.microsoft.com/office/drawing/2014/main" id="{C1320887-C283-44C4-A258-0F4F30AB9B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19597" y="2564168"/>
            <a:ext cx="549328" cy="285228"/>
          </a:xfrm>
          <a:prstGeom prst="rect">
            <a:avLst/>
          </a:prstGeom>
        </p:spPr>
      </p:pic>
      <p:pic>
        <p:nvPicPr>
          <p:cNvPr id="20" name="3 Layout">
            <a:extLst>
              <a:ext uri="{FF2B5EF4-FFF2-40B4-BE49-F238E27FC236}">
                <a16:creationId xmlns:a16="http://schemas.microsoft.com/office/drawing/2014/main" id="{65C4A96F-1A4B-422A-A364-36A11A350F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6944" r="2272" b="69429"/>
          <a:stretch/>
        </p:blipFill>
        <p:spPr>
          <a:xfrm>
            <a:off x="2748981" y="3277001"/>
            <a:ext cx="593368" cy="192211"/>
          </a:xfrm>
          <a:prstGeom prst="rect">
            <a:avLst/>
          </a:prstGeom>
        </p:spPr>
      </p:pic>
      <p:pic>
        <p:nvPicPr>
          <p:cNvPr id="21" name="4 Nulstil">
            <a:extLst>
              <a:ext uri="{FF2B5EF4-FFF2-40B4-BE49-F238E27FC236}">
                <a16:creationId xmlns:a16="http://schemas.microsoft.com/office/drawing/2014/main" id="{B4442F1F-206C-4948-A2CE-402C8A7844F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48981" y="4655118"/>
            <a:ext cx="547241" cy="197798"/>
          </a:xfrm>
          <a:prstGeom prst="rect">
            <a:avLst/>
          </a:prstGeom>
        </p:spPr>
      </p:pic>
      <p:sp>
        <p:nvSpPr>
          <p:cNvPr id="22" name="Text Box 3">
            <a:extLst>
              <a:ext uri="{FF2B5EF4-FFF2-40B4-BE49-F238E27FC236}">
                <a16:creationId xmlns:a16="http://schemas.microsoft.com/office/drawing/2014/main" id="{AC472DCD-3E25-4024-9053-0797118E219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1331" y="1479519"/>
            <a:ext cx="2160798" cy="449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 eller hvilken som helst anden pladsholder, klik på pladsholderens kant. TIP: Hold Shift nede og klik på pladsholderen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 Indsæt firma billede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Klik på den bl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fy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I drop ned menuen, vælg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da-DK" altLang="da-DK" sz="900" b="0" i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 Templafy vinduet i højre side af skærmen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 Browse efter andre billed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Tools-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appen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 findes under firma fanen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browse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ter et billede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. Indsæt et kopieret billede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Tools-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appen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 findes under firma fanen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te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indsætte det kopierede billede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1F9AF259-CD67-4F52-9A1F-EC718D03CD3D}"/>
              </a:ext>
            </a:extLst>
          </p:cNvPr>
          <p:cNvGrpSpPr/>
          <p:nvPr userDrawn="1"/>
        </p:nvGrpSpPr>
        <p:grpSpPr>
          <a:xfrm>
            <a:off x="6241457" y="3341699"/>
            <a:ext cx="740398" cy="934814"/>
            <a:chOff x="6398620" y="3815586"/>
            <a:chExt cx="740398" cy="934814"/>
          </a:xfrm>
        </p:grpSpPr>
        <p:pic>
          <p:nvPicPr>
            <p:cNvPr id="24" name="6 Crop">
              <a:extLst>
                <a:ext uri="{FF2B5EF4-FFF2-40B4-BE49-F238E27FC236}">
                  <a16:creationId xmlns:a16="http://schemas.microsoft.com/office/drawing/2014/main" id="{9CB1AB9A-B60D-4B1E-9CBF-74CFC0E384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398620" y="3815586"/>
              <a:ext cx="337400" cy="321707"/>
            </a:xfrm>
            <a:prstGeom prst="rect">
              <a:avLst/>
            </a:prstGeom>
          </p:spPr>
        </p:pic>
        <p:pic>
          <p:nvPicPr>
            <p:cNvPr id="25" name="Billede 24">
              <a:extLst>
                <a:ext uri="{FF2B5EF4-FFF2-40B4-BE49-F238E27FC236}">
                  <a16:creationId xmlns:a16="http://schemas.microsoft.com/office/drawing/2014/main" id="{85D034CD-5AB5-4128-B1ED-C46433151D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1304" t="11451" r="30180" b="26335"/>
            <a:stretch/>
          </p:blipFill>
          <p:spPr>
            <a:xfrm>
              <a:off x="6442770" y="4118189"/>
              <a:ext cx="696248" cy="632211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28" name="Gruppe 27">
            <a:extLst>
              <a:ext uri="{FF2B5EF4-FFF2-40B4-BE49-F238E27FC236}">
                <a16:creationId xmlns:a16="http://schemas.microsoft.com/office/drawing/2014/main" id="{6E0524AF-02C9-42C0-A17F-A5980D805B44}"/>
              </a:ext>
            </a:extLst>
          </p:cNvPr>
          <p:cNvGrpSpPr/>
          <p:nvPr userDrawn="1"/>
        </p:nvGrpSpPr>
        <p:grpSpPr>
          <a:xfrm>
            <a:off x="6234489" y="4380694"/>
            <a:ext cx="740397" cy="929593"/>
            <a:chOff x="6391652" y="4854581"/>
            <a:chExt cx="740397" cy="929593"/>
          </a:xfrm>
        </p:grpSpPr>
        <p:pic>
          <p:nvPicPr>
            <p:cNvPr id="29" name="6 Crop">
              <a:extLst>
                <a:ext uri="{FF2B5EF4-FFF2-40B4-BE49-F238E27FC236}">
                  <a16:creationId xmlns:a16="http://schemas.microsoft.com/office/drawing/2014/main" id="{9F98BB02-E51F-4746-B69E-9C711482649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391652" y="4854581"/>
              <a:ext cx="337400" cy="321707"/>
            </a:xfrm>
            <a:prstGeom prst="rect">
              <a:avLst/>
            </a:prstGeom>
          </p:spPr>
        </p:pic>
        <p:pic>
          <p:nvPicPr>
            <p:cNvPr id="36" name="Billede 35">
              <a:extLst>
                <a:ext uri="{FF2B5EF4-FFF2-40B4-BE49-F238E27FC236}">
                  <a16:creationId xmlns:a16="http://schemas.microsoft.com/office/drawing/2014/main" id="{F03B3F55-2CD4-4955-87F4-7332ABF9C31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l="1152" t="11676" r="31017" b="26411"/>
            <a:stretch/>
          </p:blipFill>
          <p:spPr>
            <a:xfrm>
              <a:off x="6442770" y="5155024"/>
              <a:ext cx="689279" cy="629150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37" name="Gruppe 36">
            <a:extLst>
              <a:ext uri="{FF2B5EF4-FFF2-40B4-BE49-F238E27FC236}">
                <a16:creationId xmlns:a16="http://schemas.microsoft.com/office/drawing/2014/main" id="{570C9D30-5E46-4A8F-8AF8-0A3A35FF4070}"/>
              </a:ext>
            </a:extLst>
          </p:cNvPr>
          <p:cNvGrpSpPr/>
          <p:nvPr userDrawn="1"/>
        </p:nvGrpSpPr>
        <p:grpSpPr>
          <a:xfrm>
            <a:off x="6285608" y="2237665"/>
            <a:ext cx="676669" cy="997704"/>
            <a:chOff x="6442771" y="2574072"/>
            <a:chExt cx="676669" cy="997704"/>
          </a:xfrm>
        </p:grpSpPr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6459B022-C4F9-472E-A75D-684BCC545A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9" name="Billede 38">
              <a:extLst>
                <a:ext uri="{FF2B5EF4-FFF2-40B4-BE49-F238E27FC236}">
                  <a16:creationId xmlns:a16="http://schemas.microsoft.com/office/drawing/2014/main" id="{6676C55A-9D05-4855-A873-5DA79C75422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0" name="Text Box 3">
            <a:extLst>
              <a:ext uri="{FF2B5EF4-FFF2-40B4-BE49-F238E27FC236}">
                <a16:creationId xmlns:a16="http://schemas.microsoft.com/office/drawing/2014/main" id="{3D524C37-9B03-4C43-9C67-F15B8611C77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82683" y="1479519"/>
            <a:ext cx="2566254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indsætte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nyt, kan billedet lægge sig foran tekst og grafik. Hvis dette sker, højreklik på billedet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å det slår igennem på alle slides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o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ekst kommer fra Templafy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</a:t>
            </a:r>
          </a:p>
        </p:txBody>
      </p:sp>
      <p:pic>
        <p:nvPicPr>
          <p:cNvPr id="41" name="6 Beskær">
            <a:extLst>
              <a:ext uri="{FF2B5EF4-FFF2-40B4-BE49-F238E27FC236}">
                <a16:creationId xmlns:a16="http://schemas.microsoft.com/office/drawing/2014/main" id="{6D747865-747C-4723-A63A-8AA2425D45D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085312" y="1658669"/>
            <a:ext cx="337400" cy="321707"/>
          </a:xfrm>
          <a:prstGeom prst="rect">
            <a:avLst/>
          </a:prstGeom>
        </p:spPr>
      </p:pic>
      <p:pic>
        <p:nvPicPr>
          <p:cNvPr id="42" name="7 Skalér billede">
            <a:extLst>
              <a:ext uri="{FF2B5EF4-FFF2-40B4-BE49-F238E27FC236}">
                <a16:creationId xmlns:a16="http://schemas.microsoft.com/office/drawing/2014/main" id="{5183FB2B-6E9E-41FC-88C0-479135A148CA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085312" y="2019309"/>
            <a:ext cx="359695" cy="335309"/>
          </a:xfrm>
          <a:prstGeom prst="rect">
            <a:avLst/>
          </a:prstGeom>
        </p:spPr>
      </p:pic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F5A184B9-90D9-4973-987E-71621E0A29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D015F341-CDF3-4F74-8F12-0BEE09574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8D0652-AB80-46FC-A21E-38F4C38953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1484727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1" hasCustomPrompt="1"/>
          </p:nvPr>
        </p:nvSpPr>
        <p:spPr>
          <a:xfrm>
            <a:off x="316883" y="316800"/>
            <a:ext cx="5646270" cy="26532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316883" y="3237373"/>
            <a:ext cx="5646270" cy="26532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33223" y="316800"/>
            <a:ext cx="5646270" cy="55836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9" name="Footer Placeholder 8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7717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2">
          <p15:clr>
            <a:srgbClr val="A4A3A4"/>
          </p15:clr>
        </p15:guide>
        <p15:guide id="2" pos="3755">
          <p15:clr>
            <a:srgbClr val="A4A3A4"/>
          </p15:clr>
        </p15:guide>
        <p15:guide id="3" orient="horz" pos="2039">
          <p15:clr>
            <a:srgbClr val="A4A3A4"/>
          </p15:clr>
        </p15:guide>
        <p15:guide id="4" orient="horz" pos="1872">
          <p15:clr>
            <a:srgbClr val="A4A3A4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>
          <a:xfrm>
            <a:off x="316883" y="316800"/>
            <a:ext cx="5646270" cy="55836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233223" y="316800"/>
            <a:ext cx="5646270" cy="26532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33223" y="3237373"/>
            <a:ext cx="5646270" cy="26532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9" name="Footer Placeholder 8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2932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2">
          <p15:clr>
            <a:srgbClr val="A4A3A4"/>
          </p15:clr>
        </p15:guide>
        <p15:guide id="2" pos="3755">
          <p15:clr>
            <a:srgbClr val="A4A3A4"/>
          </p15:clr>
        </p15:guide>
        <p15:guide id="3" orient="horz" pos="2039">
          <p15:clr>
            <a:srgbClr val="A4A3A4"/>
          </p15:clr>
        </p15:guide>
        <p15:guide id="4" orient="horz" pos="1872">
          <p15:clr>
            <a:srgbClr val="A4A3A4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315996" y="315914"/>
            <a:ext cx="11560010" cy="6220354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57678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vid baggrund"/>
          <p:cNvSpPr/>
          <p:nvPr userDrawn="1"/>
        </p:nvSpPr>
        <p:spPr bwMode="auto">
          <a:xfrm>
            <a:off x="3" y="3"/>
            <a:ext cx="12192000" cy="5897563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71" tIns="45635" rIns="91271" bIns="45635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GB" sz="1597" dirty="0">
              <a:solidFill>
                <a:srgbClr val="FFFFFF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Text Placeholder 61"/>
          <p:cNvSpPr>
            <a:spLocks noGrp="1"/>
          </p:cNvSpPr>
          <p:nvPr>
            <p:ph type="body" sz="quarter" idx="16" hasCustomPrompt="1"/>
          </p:nvPr>
        </p:nvSpPr>
        <p:spPr>
          <a:xfrm>
            <a:off x="1846422" y="1412776"/>
            <a:ext cx="8499157" cy="3744416"/>
          </a:xfrm>
        </p:spPr>
        <p:txBody>
          <a:bodyPr/>
          <a:lstStyle>
            <a:lvl1pPr marL="431178" indent="-431178" algn="ctr">
              <a:lnSpc>
                <a:spcPct val="107000"/>
              </a:lnSpc>
              <a:buSzPct val="250000"/>
              <a:buFontTx/>
              <a:buBlip>
                <a:blip r:embed="rId2"/>
              </a:buBlip>
              <a:defRPr sz="2795">
                <a:latin typeface="Georgia" panose="02040502050405020303" pitchFamily="18" charset="0"/>
              </a:defRPr>
            </a:lvl1pPr>
            <a:lvl2pPr marL="215590" indent="-215590" algn="ctr">
              <a:lnSpc>
                <a:spcPct val="99000"/>
              </a:lnSpc>
              <a:buFont typeface="Arial" panose="020B0604020202020204" pitchFamily="34" charset="0"/>
              <a:buChar char="-"/>
              <a:defRPr sz="1996" cap="all" baseline="0">
                <a:latin typeface="Georgia" panose="02040502050405020303" pitchFamily="18" charset="0"/>
              </a:defRPr>
            </a:lvl2pPr>
            <a:lvl3pPr algn="ctr">
              <a:buFontTx/>
              <a:buNone/>
              <a:defRPr/>
            </a:lvl3pPr>
          </a:lstStyle>
          <a:p>
            <a:pPr lvl="0"/>
            <a:r>
              <a:rPr lang="en-GB" dirty="0"/>
              <a:t>Click to add Quote text, for next level ENTER and TAB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926463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vid baggrund"/>
          <p:cNvSpPr/>
          <p:nvPr userDrawn="1"/>
        </p:nvSpPr>
        <p:spPr bwMode="auto">
          <a:xfrm>
            <a:off x="3" y="3"/>
            <a:ext cx="12192000" cy="5897563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71" tIns="45635" rIns="91271" bIns="45635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GB" sz="1597" dirty="0">
              <a:solidFill>
                <a:srgbClr val="FFFFFF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15995" y="230400"/>
            <a:ext cx="11566212" cy="752400"/>
          </a:xfrm>
        </p:spPr>
        <p:txBody>
          <a:bodyPr anchor="t" anchorCtr="0"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10" name="Footer Placeholder 9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998849" y="1853462"/>
            <a:ext cx="6266328" cy="2725288"/>
          </a:xfrm>
        </p:spPr>
        <p:txBody>
          <a:bodyPr/>
          <a:lstStyle>
            <a:lvl1pPr marL="431178" indent="-431178" algn="ctr">
              <a:lnSpc>
                <a:spcPct val="107000"/>
              </a:lnSpc>
              <a:buSzPct val="250000"/>
              <a:buFontTx/>
              <a:buBlip>
                <a:blip r:embed="rId2"/>
              </a:buBlip>
              <a:defRPr sz="2795">
                <a:latin typeface="Georgia" panose="02040502050405020303" pitchFamily="18" charset="0"/>
              </a:defRPr>
            </a:lvl1pPr>
            <a:lvl2pPr marL="215590" indent="-215590" algn="ctr">
              <a:lnSpc>
                <a:spcPct val="99000"/>
              </a:lnSpc>
              <a:buFont typeface="Arial" panose="020B0604020202020204" pitchFamily="34" charset="0"/>
              <a:buChar char="-"/>
              <a:defRPr sz="1996" cap="all" baseline="0">
                <a:latin typeface="Georgia" panose="02040502050405020303" pitchFamily="18" charset="0"/>
              </a:defRPr>
            </a:lvl2pPr>
            <a:lvl3pPr marL="574905" indent="0">
              <a:buNone/>
              <a:defRPr/>
            </a:lvl3pPr>
          </a:lstStyle>
          <a:p>
            <a:pPr lvl="0"/>
            <a:r>
              <a:rPr lang="en-GB" dirty="0"/>
              <a:t>Click to add Quote text, for next level ENTER and TAB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360410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"/>
          <p:cNvSpPr>
            <a:spLocks noGrp="1"/>
          </p:cNvSpPr>
          <p:nvPr>
            <p:ph sz="quarter" idx="12"/>
          </p:nvPr>
        </p:nvSpPr>
        <p:spPr>
          <a:xfrm>
            <a:off x="328698" y="328613"/>
            <a:ext cx="11553659" cy="621347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999405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6" name="TextBox 5"/>
          <p:cNvSpPr txBox="1"/>
          <p:nvPr userDrawn="1"/>
        </p:nvSpPr>
        <p:spPr>
          <a:xfrm>
            <a:off x="-2160915" y="1022479"/>
            <a:ext cx="2013173" cy="4734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Ændr 2. linje i overskriften </a:t>
            </a:r>
            <a:b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</a:b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til AU Passata Light</a:t>
            </a:r>
            <a:endParaRPr lang="en-GB" sz="4790" dirty="0">
              <a:solidFill>
                <a:srgbClr val="000000"/>
              </a:solidFill>
              <a:latin typeface="AU Passata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32984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766019" y="1340769"/>
            <a:ext cx="1224455" cy="504056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71" tIns="45635" rIns="91271" bIns="45635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GB" sz="1597" dirty="0">
              <a:solidFill>
                <a:srgbClr val="FFFFFF"/>
              </a:solidFill>
            </a:endParaRPr>
          </a:p>
        </p:txBody>
      </p:sp>
      <p:sp>
        <p:nvSpPr>
          <p:cNvPr id="8" name="Slide Number Placeholder 7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904202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arvet baggrund"/>
          <p:cNvSpPr/>
          <p:nvPr userDrawn="1"/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0" dirty="0">
              <a:solidFill>
                <a:srgbClr val="FFFFFF"/>
              </a:solidFill>
            </a:endParaRPr>
          </a:p>
        </p:txBody>
      </p:sp>
      <p:pic>
        <p:nvPicPr>
          <p:cNvPr id="4" name="Logo BS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880" y="2229267"/>
            <a:ext cx="2398246" cy="2399468"/>
          </a:xfrm>
          <a:prstGeom prst="rect">
            <a:avLst/>
          </a:prstGeom>
        </p:spPr>
      </p:pic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3"/>
            <a:ext cx="0" cy="769441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499872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arvet baggrund"/>
          <p:cNvSpPr/>
          <p:nvPr userDrawn="1"/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0" dirty="0">
              <a:solidFill>
                <a:srgbClr val="FFFFFF"/>
              </a:solidFill>
            </a:endParaRPr>
          </a:p>
        </p:txBody>
      </p:sp>
      <p:pic>
        <p:nvPicPr>
          <p:cNvPr id="7" name="Logo BS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9059" y="2520004"/>
            <a:ext cx="1650805" cy="1650375"/>
          </a:xfrm>
          <a:prstGeom prst="rect">
            <a:avLst/>
          </a:prstGeom>
        </p:spPr>
      </p:pic>
      <p:sp>
        <p:nvSpPr>
          <p:cNvPr id="6" name="OFF_logo2Computed"/>
          <p:cNvSpPr txBox="1">
            <a:spLocks noChangeArrowheads="1"/>
          </p:cNvSpPr>
          <p:nvPr userDrawn="1"/>
        </p:nvSpPr>
        <p:spPr bwMode="auto">
          <a:xfrm>
            <a:off x="4393144" y="2520004"/>
            <a:ext cx="7482862" cy="869657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492287" rIns="0" bIns="0">
            <a:spAutoFit/>
          </a:bodyPr>
          <a:lstStyle/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2296" cap="all" spc="200" dirty="0">
              <a:solidFill>
                <a:srgbClr val="FFFFFF"/>
              </a:solidFill>
            </a:endParaRPr>
          </a:p>
        </p:txBody>
      </p:sp>
      <p:sp>
        <p:nvSpPr>
          <p:cNvPr id="10" name="OFF_logo1Computed"/>
          <p:cNvSpPr txBox="1">
            <a:spLocks noChangeArrowheads="1"/>
          </p:cNvSpPr>
          <p:nvPr userDrawn="1"/>
        </p:nvSpPr>
        <p:spPr bwMode="auto">
          <a:xfrm>
            <a:off x="4871547" y="2545400"/>
            <a:ext cx="7482862" cy="161015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22173" rIns="0" bIns="0">
            <a:spAutoFit/>
          </a:bodyPr>
          <a:lstStyle/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2296" b="1" cap="all" spc="100" dirty="0">
              <a:solidFill>
                <a:srgbClr val="FFFFFF"/>
              </a:solidFill>
            </a:endParaRPr>
          </a:p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2296" b="1" cap="all" spc="100" dirty="0">
              <a:solidFill>
                <a:srgbClr val="FFFFFF"/>
              </a:solidFill>
            </a:endParaRPr>
          </a:p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GB" sz="2296" b="1" cap="all" spc="100" dirty="0">
                <a:solidFill>
                  <a:srgbClr val="FFFFFF"/>
                </a:solidFill>
              </a:rPr>
              <a:t>INSTITUT FOR STATSKUNDSKAB</a:t>
            </a:r>
          </a:p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GB" sz="2296" cap="all" spc="100" dirty="0">
                <a:solidFill>
                  <a:srgbClr val="FFFFFF"/>
                </a:solidFill>
              </a:rPr>
              <a:t>AARHUS UNIVERSITET</a:t>
            </a:r>
          </a:p>
        </p:txBody>
      </p:sp>
      <p:sp>
        <p:nvSpPr>
          <p:cNvPr id="9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11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3"/>
            <a:ext cx="0" cy="769441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52488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Farvet baggrund"/>
          <p:cNvPicPr preferRelativeResize="0"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" y="0"/>
            <a:ext cx="12192000" cy="685800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34819" name="Title 1"/>
          <p:cNvSpPr>
            <a:spLocks noGrp="1" noChangeArrowheads="1"/>
          </p:cNvSpPr>
          <p:nvPr>
            <p:ph type="ctrTitle"/>
          </p:nvPr>
        </p:nvSpPr>
        <p:spPr>
          <a:xfrm>
            <a:off x="986100" y="2482215"/>
            <a:ext cx="10222987" cy="1662250"/>
          </a:xfrm>
        </p:spPr>
        <p:txBody>
          <a:bodyPr wrap="square" anchor="ctr" anchorCtr="0">
            <a:spAutoFit/>
          </a:bodyPr>
          <a:lstStyle>
            <a:lvl1pPr>
              <a:lnSpc>
                <a:spcPct val="90000"/>
              </a:lnSpc>
              <a:defRPr sz="5992" baseline="0">
                <a:solidFill>
                  <a:schemeClr val="bg1"/>
                </a:solidFill>
                <a:latin typeface="AU Passata Light" panose="020B03030309020308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1974112" y="3082509"/>
            <a:ext cx="1826368" cy="3077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998" baseline="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Ændr 2. linje eller ord til</a:t>
            </a:r>
            <a:endParaRPr lang="en-GB" sz="4791"/>
          </a:p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AU Passata Bold</a:t>
            </a:r>
            <a:endParaRPr lang="en-GB" sz="4791" dirty="0"/>
          </a:p>
        </p:txBody>
      </p:sp>
      <p:sp>
        <p:nvSpPr>
          <p:cNvPr id="34" name="Date_DateCustomA"/>
          <p:cNvSpPr txBox="1">
            <a:spLocks noChangeArrowheads="1"/>
          </p:cNvSpPr>
          <p:nvPr userDrawn="1"/>
        </p:nvSpPr>
        <p:spPr bwMode="auto">
          <a:xfrm>
            <a:off x="4799518" y="5867149"/>
            <a:ext cx="2272432" cy="655278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474444" rIns="0" bIns="0" anchor="t" anchorCtr="0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GB" sz="1198" b="0" cap="all" baseline="0" dirty="0">
                <a:solidFill>
                  <a:schemeClr val="bg1"/>
                </a:solidFill>
                <a:latin typeface="+mn-lt"/>
              </a:rPr>
              <a:t>#</a:t>
            </a:r>
            <a:r>
              <a:rPr lang="en-GB" sz="1198" b="0" cap="all" baseline="0" dirty="0" err="1">
                <a:solidFill>
                  <a:schemeClr val="bg1"/>
                </a:solidFill>
                <a:latin typeface="+mn-lt"/>
              </a:rPr>
              <a:t>opencpl</a:t>
            </a:r>
            <a:endParaRPr lang="en-GB" sz="1198" b="0" cap="all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5" name="FLD_Event"/>
          <p:cNvSpPr txBox="1">
            <a:spLocks noChangeArrowheads="1"/>
          </p:cNvSpPr>
          <p:nvPr userDrawn="1"/>
        </p:nvSpPr>
        <p:spPr bwMode="auto">
          <a:xfrm>
            <a:off x="3692294" y="5997601"/>
            <a:ext cx="2272432" cy="520778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341457" rIns="0" bIns="0" anchor="t" anchorCtr="0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GB" sz="1198" b="0" kern="1200" cap="all" baseline="0">
                <a:solidFill>
                  <a:schemeClr val="bg1"/>
                </a:solidFill>
                <a:latin typeface="AU Passata" pitchFamily="34" charset="0"/>
                <a:ea typeface="+mn-ea"/>
                <a:cs typeface="+mn-cs"/>
              </a:rPr>
              <a:t>@ledelsescenter</a:t>
            </a:r>
            <a:endParaRPr lang="en-GB" sz="1198" b="0" kern="1200" cap="all" baseline="0" dirty="0">
              <a:solidFill>
                <a:schemeClr val="bg1"/>
              </a:solidFill>
              <a:latin typeface="AU Passata" pitchFamily="34" charset="0"/>
              <a:ea typeface="+mn-ea"/>
              <a:cs typeface="+mn-cs"/>
            </a:endParaRPr>
          </a:p>
        </p:txBody>
      </p:sp>
      <p:pic>
        <p:nvPicPr>
          <p:cNvPr id="18" name="Billede stre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4782" y="5997602"/>
            <a:ext cx="71753" cy="558603"/>
          </a:xfrm>
          <a:prstGeom prst="rect">
            <a:avLst/>
          </a:prstGeom>
        </p:spPr>
      </p:pic>
      <p:pic>
        <p:nvPicPr>
          <p:cNvPr id="14" name="Logo BSS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7" y="5997600"/>
            <a:ext cx="600892" cy="601851"/>
          </a:xfrm>
          <a:prstGeom prst="rect">
            <a:avLst/>
          </a:prstGeom>
        </p:spPr>
      </p:pic>
      <p:sp>
        <p:nvSpPr>
          <p:cNvPr id="16" name="OFF_logo2Computed"/>
          <p:cNvSpPr txBox="1">
            <a:spLocks noChangeArrowheads="1"/>
          </p:cNvSpPr>
          <p:nvPr userDrawn="1"/>
        </p:nvSpPr>
        <p:spPr bwMode="auto">
          <a:xfrm>
            <a:off x="972259" y="5997602"/>
            <a:ext cx="2350657" cy="447724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68932" rIns="0" bIns="0">
            <a:spAutoFit/>
          </a:bodyPr>
          <a:lstStyle/>
          <a:p>
            <a:pPr>
              <a:lnSpc>
                <a:spcPct val="100000"/>
              </a:lnSpc>
              <a:defRPr/>
            </a:pPr>
            <a:endParaRPr lang="en-GB" sz="898" cap="all" spc="40" baseline="0" dirty="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00000"/>
              </a:lnSpc>
              <a:defRPr/>
            </a:pPr>
            <a:endParaRPr lang="en-GB" sz="898" cap="all" spc="4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5" name="OFF_logo1Computed">
            <a:extLst>
              <a:ext uri="{FF2B5EF4-FFF2-40B4-BE49-F238E27FC236}">
                <a16:creationId xmlns:a16="http://schemas.microsoft.com/office/drawing/2014/main" id="{76394C7A-7F05-BF47-B9F2-31A5C83539FE}"/>
              </a:ext>
            </a:extLst>
          </p:cNvPr>
          <p:cNvSpPr/>
          <p:nvPr userDrawn="1"/>
        </p:nvSpPr>
        <p:spPr bwMode="auto">
          <a:xfrm>
            <a:off x="972255" y="6007004"/>
            <a:ext cx="2180652" cy="590092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35942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30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8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9130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8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9130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8" b="1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DEPARTMENT OF POLITICAL SCIENCE</a:t>
            </a:r>
          </a:p>
          <a:p>
            <a:pPr marL="0" marR="0" indent="0" algn="l" defTabSz="9130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8" b="0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AARHUS UNIVERSITY</a:t>
            </a: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FB27B3EA-4797-C24E-9DB0-97E7AEB9487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9693" y="6184355"/>
            <a:ext cx="2804143" cy="504217"/>
          </a:xfrm>
          <a:prstGeom prst="rect">
            <a:avLst/>
          </a:prstGeom>
        </p:spPr>
      </p:pic>
      <p:pic>
        <p:nvPicPr>
          <p:cNvPr id="3" name="Billede 2">
            <a:extLst>
              <a:ext uri="{FF2B5EF4-FFF2-40B4-BE49-F238E27FC236}">
                <a16:creationId xmlns:a16="http://schemas.microsoft.com/office/drawing/2014/main" id="{3F20AD3C-DDCD-3743-AC79-5A832C88AA4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7431" y="-6149641"/>
            <a:ext cx="10629138" cy="12227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7142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 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arvet baggrund"/>
          <p:cNvSpPr/>
          <p:nvPr userDrawn="1"/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0" dirty="0">
              <a:solidFill>
                <a:srgbClr val="FFFFFF"/>
              </a:solidFill>
            </a:endParaRPr>
          </a:p>
        </p:txBody>
      </p:sp>
      <p:sp>
        <p:nvSpPr>
          <p:cNvPr id="6" name="OFF_logo2Computed"/>
          <p:cNvSpPr txBox="1">
            <a:spLocks noChangeArrowheads="1"/>
          </p:cNvSpPr>
          <p:nvPr userDrawn="1"/>
        </p:nvSpPr>
        <p:spPr bwMode="auto">
          <a:xfrm>
            <a:off x="4393144" y="2520004"/>
            <a:ext cx="7482862" cy="869657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492287" rIns="0" bIns="0">
            <a:spAutoFit/>
          </a:bodyPr>
          <a:lstStyle/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2296" cap="all" spc="200" dirty="0">
              <a:solidFill>
                <a:srgbClr val="FFFFFF"/>
              </a:solidFill>
            </a:endParaRPr>
          </a:p>
        </p:txBody>
      </p:sp>
      <p:sp>
        <p:nvSpPr>
          <p:cNvPr id="9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11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3"/>
            <a:ext cx="0" cy="769441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3FF57DD2-E465-D142-901B-8F8B5CD4A9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962" y="1066366"/>
            <a:ext cx="9630246" cy="4420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95909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21" y="1487"/>
          <a:ext cx="1921" cy="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21" y="1487"/>
                        <a:ext cx="1921" cy="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0225" y="273967"/>
            <a:ext cx="10971553" cy="1143890"/>
          </a:xfrm>
          <a:prstGeom prst="rect">
            <a:avLst/>
          </a:prstGeo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diasnummer 2"/>
          <p:cNvSpPr>
            <a:spLocks noGrp="1"/>
          </p:cNvSpPr>
          <p:nvPr>
            <p:ph type="sldNum" sz="quarter" idx="10"/>
          </p:nvPr>
        </p:nvSpPr>
        <p:spPr>
          <a:xfrm>
            <a:off x="11811076" y="6580800"/>
            <a:ext cx="252066" cy="307777"/>
          </a:xfrm>
        </p:spPr>
        <p:txBody>
          <a:bodyPr/>
          <a:lstStyle/>
          <a:p>
            <a:r>
              <a:rPr lang="da-DK" dirty="0">
                <a:solidFill>
                  <a:srgbClr val="A1938E">
                    <a:lumMod val="50000"/>
                  </a:srgbClr>
                </a:solidFill>
              </a:rPr>
              <a:t> Side </a:t>
            </a:r>
            <a:fld id="{8D1860DE-99E2-CA4F-B49F-9FA189F66E94}" type="slidenum">
              <a:rPr lang="da-DK" smtClean="0">
                <a:solidFill>
                  <a:srgbClr val="A1938E">
                    <a:lumMod val="50000"/>
                  </a:srgbClr>
                </a:solidFill>
              </a:rPr>
              <a:pPr/>
              <a:t>‹nr.›</a:t>
            </a:fld>
            <a:endParaRPr lang="da-DK" dirty="0">
              <a:solidFill>
                <a:srgbClr val="A1938E">
                  <a:lumMod val="50000"/>
                </a:srgbClr>
              </a:solidFill>
            </a:endParaRPr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7295" y="6202727"/>
            <a:ext cx="1390289" cy="522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561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Farvet baggrund"/>
          <p:cNvPicPr preferRelativeResize="0"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2192000" cy="685800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34819" name="Title 1"/>
          <p:cNvSpPr>
            <a:spLocks noGrp="1" noChangeArrowheads="1"/>
          </p:cNvSpPr>
          <p:nvPr>
            <p:ph type="ctrTitle"/>
          </p:nvPr>
        </p:nvSpPr>
        <p:spPr>
          <a:xfrm>
            <a:off x="986096" y="2482345"/>
            <a:ext cx="10222987" cy="1661993"/>
          </a:xfrm>
        </p:spPr>
        <p:txBody>
          <a:bodyPr wrap="square" anchor="ctr" anchorCtr="0">
            <a:spAutoFit/>
          </a:bodyPr>
          <a:lstStyle>
            <a:lvl1pPr>
              <a:lnSpc>
                <a:spcPct val="90000"/>
              </a:lnSpc>
              <a:defRPr sz="5991" baseline="0">
                <a:solidFill>
                  <a:schemeClr val="bg1"/>
                </a:solidFill>
                <a:latin typeface="AU Passata Light" panose="020B03030309020308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1974112" y="3082508"/>
            <a:ext cx="182636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Ændr 2. linje eller ord til</a:t>
            </a:r>
            <a:endParaRPr lang="en-GB" sz="1798" dirty="0">
              <a:solidFill>
                <a:srgbClr val="000000"/>
              </a:solidFill>
              <a:latin typeface="AU Passata"/>
            </a:endParaRPr>
          </a:p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AU Passata Bold</a:t>
            </a:r>
            <a:endParaRPr lang="en-GB" sz="4791" dirty="0">
              <a:solidFill>
                <a:srgbClr val="000000"/>
              </a:solidFill>
              <a:latin typeface="AU Passata"/>
            </a:endParaRPr>
          </a:p>
        </p:txBody>
      </p:sp>
      <p:pic>
        <p:nvPicPr>
          <p:cNvPr id="14" name="Logo BS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7" y="5997602"/>
            <a:ext cx="600892" cy="601199"/>
          </a:xfrm>
          <a:prstGeom prst="rect">
            <a:avLst/>
          </a:prstGeom>
        </p:spPr>
      </p:pic>
      <p:sp>
        <p:nvSpPr>
          <p:cNvPr id="16" name="OFF_logo2Computed"/>
          <p:cNvSpPr txBox="1">
            <a:spLocks noChangeArrowheads="1"/>
          </p:cNvSpPr>
          <p:nvPr userDrawn="1"/>
        </p:nvSpPr>
        <p:spPr bwMode="auto">
          <a:xfrm>
            <a:off x="972255" y="5997602"/>
            <a:ext cx="2350657" cy="447851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68931" rIns="0" bIns="0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898" cap="all" spc="40" dirty="0">
              <a:solidFill>
                <a:srgbClr val="FFFFFF"/>
              </a:solidFill>
              <a:latin typeface="AU Passata"/>
            </a:endParaRP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898" cap="all" spc="40" dirty="0">
              <a:solidFill>
                <a:srgbClr val="FFFFFF"/>
              </a:solidFill>
              <a:latin typeface="AU Passata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5" name="OFF_logo1Computed">
            <a:extLst>
              <a:ext uri="{FF2B5EF4-FFF2-40B4-BE49-F238E27FC236}">
                <a16:creationId xmlns:a16="http://schemas.microsoft.com/office/drawing/2014/main" id="{76394C7A-7F05-BF47-B9F2-31A5C83539FE}"/>
              </a:ext>
            </a:extLst>
          </p:cNvPr>
          <p:cNvSpPr/>
          <p:nvPr userDrawn="1"/>
        </p:nvSpPr>
        <p:spPr bwMode="auto">
          <a:xfrm>
            <a:off x="972254" y="6007004"/>
            <a:ext cx="1866381" cy="590092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35942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00000"/>
              </a:lnSpc>
            </a:pPr>
            <a:endParaRPr lang="en-GB" sz="898" b="1" cap="all" noProof="1">
              <a:solidFill>
                <a:srgbClr val="FFFFFF"/>
              </a:solidFill>
            </a:endParaRPr>
          </a:p>
          <a:p>
            <a:pPr>
              <a:lnSpc>
                <a:spcPct val="100000"/>
              </a:lnSpc>
            </a:pPr>
            <a:endParaRPr lang="en-GB" sz="898" b="1" cap="all" noProof="1">
              <a:solidFill>
                <a:srgbClr val="FFFFFF"/>
              </a:solidFill>
            </a:endParaRPr>
          </a:p>
          <a:p>
            <a:pPr>
              <a:lnSpc>
                <a:spcPct val="100000"/>
              </a:lnSpc>
            </a:pPr>
            <a:r>
              <a:rPr lang="en-GB" sz="898" b="1" cap="all" noProof="1">
                <a:solidFill>
                  <a:srgbClr val="FFFFFF"/>
                </a:solidFill>
              </a:rPr>
              <a:t>INSTITUT FOR STATSKUNDSKAB</a:t>
            </a:r>
          </a:p>
          <a:p>
            <a:pPr>
              <a:lnSpc>
                <a:spcPct val="100000"/>
              </a:lnSpc>
            </a:pPr>
            <a:r>
              <a:rPr lang="en-GB" sz="898" cap="all" noProof="1">
                <a:solidFill>
                  <a:srgbClr val="FFFFFF"/>
                </a:solidFill>
              </a:rPr>
              <a:t>AARHUS UNIVERSITET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3F20AD3C-DDCD-3743-AC79-5A832C88AA4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7431" y="-6149641"/>
            <a:ext cx="10629138" cy="12199072"/>
          </a:xfrm>
          <a:prstGeom prst="rect">
            <a:avLst/>
          </a:prstGeom>
        </p:spPr>
      </p:pic>
      <p:pic>
        <p:nvPicPr>
          <p:cNvPr id="20" name="Billede 19">
            <a:extLst>
              <a:ext uri="{FF2B5EF4-FFF2-40B4-BE49-F238E27FC236}">
                <a16:creationId xmlns:a16="http://schemas.microsoft.com/office/drawing/2014/main" id="{F39DCE25-406B-F849-971B-3B95A143E51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509" y="5557202"/>
            <a:ext cx="3817418" cy="175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19311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arvet baggrund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1" dirty="0">
              <a:solidFill>
                <a:srgbClr val="FFFFFF"/>
              </a:solidFill>
            </a:endParaRPr>
          </a:p>
        </p:txBody>
      </p:sp>
      <p:sp>
        <p:nvSpPr>
          <p:cNvPr id="19" name="White Top Rectangle"/>
          <p:cNvSpPr>
            <a:spLocks noChangeArrowheads="1"/>
          </p:cNvSpPr>
          <p:nvPr userDrawn="1"/>
        </p:nvSpPr>
        <p:spPr bwMode="auto">
          <a:xfrm>
            <a:off x="986096" y="3443622"/>
            <a:ext cx="648169" cy="46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4791" dirty="0">
              <a:solidFill>
                <a:srgbClr val="000000"/>
              </a:solidFill>
              <a:latin typeface="AU Passata"/>
            </a:endParaRPr>
          </a:p>
        </p:txBody>
      </p:sp>
      <p:sp>
        <p:nvSpPr>
          <p:cNvPr id="34819" name="Title 1"/>
          <p:cNvSpPr>
            <a:spLocks noGrp="1" noChangeArrowheads="1"/>
          </p:cNvSpPr>
          <p:nvPr>
            <p:ph type="ctrTitle"/>
          </p:nvPr>
        </p:nvSpPr>
        <p:spPr>
          <a:xfrm>
            <a:off x="982101" y="1520317"/>
            <a:ext cx="9545793" cy="1779553"/>
          </a:xfrm>
        </p:spPr>
        <p:txBody>
          <a:bodyPr wrap="square" anchor="b" anchorCtr="0">
            <a:noAutofit/>
          </a:bodyPr>
          <a:lstStyle>
            <a:lvl1pPr>
              <a:lnSpc>
                <a:spcPct val="90000"/>
              </a:lnSpc>
              <a:defRPr sz="5991" baseline="0">
                <a:solidFill>
                  <a:schemeClr val="bg1"/>
                </a:solidFill>
                <a:latin typeface="AU Passata Light" panose="020B03030309020308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86096" y="3715433"/>
            <a:ext cx="7163077" cy="1746085"/>
          </a:xfrm>
        </p:spPr>
        <p:txBody>
          <a:bodyPr/>
          <a:lstStyle>
            <a:lvl1pPr marL="0" indent="0">
              <a:lnSpc>
                <a:spcPct val="101000"/>
              </a:lnSpc>
              <a:buFontTx/>
              <a:buNone/>
              <a:defRPr sz="2696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2160916" y="2132856"/>
            <a:ext cx="2013173" cy="738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Ændr 2. linje i overskriften </a:t>
            </a:r>
            <a:b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</a:b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til AU Passata bold</a:t>
            </a:r>
            <a:endParaRPr lang="en-GB" sz="4791" dirty="0">
              <a:solidFill>
                <a:srgbClr val="000000"/>
              </a:solidFill>
              <a:latin typeface="AU Passata"/>
            </a:endParaRPr>
          </a:p>
        </p:txBody>
      </p:sp>
      <p:pic>
        <p:nvPicPr>
          <p:cNvPr id="18" name="Logo BS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7" y="5997602"/>
            <a:ext cx="600892" cy="601199"/>
          </a:xfrm>
          <a:prstGeom prst="rect">
            <a:avLst/>
          </a:prstGeom>
        </p:spPr>
      </p:pic>
      <p:sp>
        <p:nvSpPr>
          <p:cNvPr id="17" name="OFF_logo2Computed"/>
          <p:cNvSpPr txBox="1">
            <a:spLocks noChangeArrowheads="1"/>
          </p:cNvSpPr>
          <p:nvPr userDrawn="1"/>
        </p:nvSpPr>
        <p:spPr bwMode="auto">
          <a:xfrm>
            <a:off x="972255" y="5997602"/>
            <a:ext cx="2350657" cy="447851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68931" rIns="0" bIns="0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898" cap="all" spc="40" dirty="0">
              <a:solidFill>
                <a:srgbClr val="FFFFFF"/>
              </a:solidFill>
              <a:latin typeface="AU Passata"/>
            </a:endParaRP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898" cap="all" spc="40" dirty="0">
              <a:solidFill>
                <a:srgbClr val="FFFFFF"/>
              </a:solidFill>
              <a:latin typeface="AU Passata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4" name="OFF_logo1Computed">
            <a:extLst>
              <a:ext uri="{FF2B5EF4-FFF2-40B4-BE49-F238E27FC236}">
                <a16:creationId xmlns:a16="http://schemas.microsoft.com/office/drawing/2014/main" id="{D90FCB66-191C-9349-8604-080297494FC7}"/>
              </a:ext>
            </a:extLst>
          </p:cNvPr>
          <p:cNvSpPr/>
          <p:nvPr userDrawn="1"/>
        </p:nvSpPr>
        <p:spPr bwMode="auto">
          <a:xfrm>
            <a:off x="972254" y="6007004"/>
            <a:ext cx="1866381" cy="590092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35942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00000"/>
              </a:lnSpc>
            </a:pPr>
            <a:endParaRPr lang="en-GB" sz="898" b="1" cap="all" noProof="1">
              <a:solidFill>
                <a:srgbClr val="FFFFFF"/>
              </a:solidFill>
            </a:endParaRPr>
          </a:p>
          <a:p>
            <a:pPr>
              <a:lnSpc>
                <a:spcPct val="100000"/>
              </a:lnSpc>
            </a:pPr>
            <a:endParaRPr lang="en-GB" sz="898" b="1" cap="all" noProof="1">
              <a:solidFill>
                <a:srgbClr val="FFFFFF"/>
              </a:solidFill>
            </a:endParaRPr>
          </a:p>
          <a:p>
            <a:pPr>
              <a:lnSpc>
                <a:spcPct val="100000"/>
              </a:lnSpc>
            </a:pPr>
            <a:r>
              <a:rPr lang="en-GB" sz="898" b="1" cap="all" noProof="1">
                <a:solidFill>
                  <a:srgbClr val="FFFFFF"/>
                </a:solidFill>
              </a:rPr>
              <a:t>INSTITUT FOR STATSKUNDSKAB</a:t>
            </a:r>
          </a:p>
          <a:p>
            <a:pPr>
              <a:lnSpc>
                <a:spcPct val="100000"/>
              </a:lnSpc>
            </a:pPr>
            <a:r>
              <a:rPr lang="en-GB" sz="898" cap="all" noProof="1">
                <a:solidFill>
                  <a:srgbClr val="FFFFFF"/>
                </a:solidFill>
              </a:rPr>
              <a:t>AARHUS UNIVERSITET</a:t>
            </a:r>
          </a:p>
        </p:txBody>
      </p:sp>
      <p:pic>
        <p:nvPicPr>
          <p:cNvPr id="24" name="Billede 23">
            <a:extLst>
              <a:ext uri="{FF2B5EF4-FFF2-40B4-BE49-F238E27FC236}">
                <a16:creationId xmlns:a16="http://schemas.microsoft.com/office/drawing/2014/main" id="{F807BD2F-53D4-0B48-9E07-8F17CB30AE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509" y="5557202"/>
            <a:ext cx="3817418" cy="175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97980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arvet baggrund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1" dirty="0">
              <a:solidFill>
                <a:srgbClr val="FFFFFF"/>
              </a:solidFill>
            </a:endParaRPr>
          </a:p>
        </p:txBody>
      </p:sp>
      <p:sp>
        <p:nvSpPr>
          <p:cNvPr id="34819" name="Title 1"/>
          <p:cNvSpPr>
            <a:spLocks noGrp="1" noChangeArrowheads="1"/>
          </p:cNvSpPr>
          <p:nvPr>
            <p:ph type="ctrTitle"/>
          </p:nvPr>
        </p:nvSpPr>
        <p:spPr>
          <a:xfrm>
            <a:off x="986096" y="2482345"/>
            <a:ext cx="10222987" cy="1661993"/>
          </a:xfrm>
        </p:spPr>
        <p:txBody>
          <a:bodyPr wrap="square" anchor="ctr" anchorCtr="0">
            <a:spAutoFit/>
          </a:bodyPr>
          <a:lstStyle>
            <a:lvl1pPr>
              <a:lnSpc>
                <a:spcPct val="90000"/>
              </a:lnSpc>
              <a:defRPr sz="5991" baseline="0">
                <a:solidFill>
                  <a:schemeClr val="bg1"/>
                </a:solidFill>
                <a:latin typeface="AU Passata Light" panose="020B03030309020308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1974112" y="3082508"/>
            <a:ext cx="182636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Ændr 2. linje eller ord til</a:t>
            </a:r>
            <a:endParaRPr lang="en-GB" sz="1798" dirty="0">
              <a:solidFill>
                <a:srgbClr val="000000"/>
              </a:solidFill>
              <a:latin typeface="AU Passata"/>
            </a:endParaRPr>
          </a:p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AU Passata Bold</a:t>
            </a:r>
            <a:endParaRPr lang="en-GB" sz="4791" dirty="0">
              <a:solidFill>
                <a:srgbClr val="000000"/>
              </a:solidFill>
              <a:latin typeface="AU Passata"/>
            </a:endParaRPr>
          </a:p>
        </p:txBody>
      </p:sp>
      <p:pic>
        <p:nvPicPr>
          <p:cNvPr id="23" name="Billed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4783" y="5997602"/>
            <a:ext cx="71753" cy="557999"/>
          </a:xfrm>
          <a:prstGeom prst="rect">
            <a:avLst/>
          </a:prstGeom>
        </p:spPr>
      </p:pic>
      <p:pic>
        <p:nvPicPr>
          <p:cNvPr id="16" name="Logo BS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7" y="5997602"/>
            <a:ext cx="600892" cy="601199"/>
          </a:xfrm>
          <a:prstGeom prst="rect">
            <a:avLst/>
          </a:prstGeom>
        </p:spPr>
      </p:pic>
      <p:sp>
        <p:nvSpPr>
          <p:cNvPr id="17" name="OFF_logo2Computed"/>
          <p:cNvSpPr txBox="1">
            <a:spLocks noChangeArrowheads="1"/>
          </p:cNvSpPr>
          <p:nvPr userDrawn="1"/>
        </p:nvSpPr>
        <p:spPr bwMode="auto">
          <a:xfrm>
            <a:off x="972255" y="5997602"/>
            <a:ext cx="2350657" cy="447851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68931" rIns="0" bIns="0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898" cap="all" spc="40" dirty="0">
              <a:solidFill>
                <a:srgbClr val="FFFFFF"/>
              </a:solidFill>
              <a:latin typeface="AU Passata"/>
            </a:endParaRP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898" cap="all" spc="40" dirty="0">
              <a:solidFill>
                <a:srgbClr val="FFFFFF"/>
              </a:solidFill>
              <a:latin typeface="AU Passata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9" name="Date_DateCustomA">
            <a:extLst>
              <a:ext uri="{FF2B5EF4-FFF2-40B4-BE49-F238E27FC236}">
                <a16:creationId xmlns:a16="http://schemas.microsoft.com/office/drawing/2014/main" id="{39E94D8C-5906-5243-B2B8-14863ACA416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92294" y="5997600"/>
            <a:ext cx="2272432" cy="58217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474444" rIns="0" bIns="0" anchor="t" anchorCtr="0">
            <a:spAutoFit/>
          </a:bodyPr>
          <a:lstStyle/>
          <a:p>
            <a:pPr algn="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GB" sz="699" cap="all" dirty="0">
                <a:solidFill>
                  <a:srgbClr val="FFFFFF"/>
                </a:solidFill>
                <a:latin typeface="AU Passata"/>
              </a:rPr>
              <a:t>DATE</a:t>
            </a:r>
          </a:p>
        </p:txBody>
      </p:sp>
      <p:sp>
        <p:nvSpPr>
          <p:cNvPr id="20" name="USR_Title">
            <a:extLst>
              <a:ext uri="{FF2B5EF4-FFF2-40B4-BE49-F238E27FC236}">
                <a16:creationId xmlns:a16="http://schemas.microsoft.com/office/drawing/2014/main" id="{C89BF9DB-1346-114F-9332-18E99C5D2C0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241669" y="5997600"/>
            <a:ext cx="2983193" cy="58217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lIns="0" tIns="474444" rIns="0" bIns="0" anchor="t" anchorCtr="0">
            <a:spAutoFit/>
          </a:bodyPr>
          <a:lstStyle/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GB" sz="699" cap="all" dirty="0">
                <a:solidFill>
                  <a:srgbClr val="FFFFFF"/>
                </a:solidFill>
                <a:latin typeface="AU Passata"/>
              </a:rPr>
              <a:t>TITLE</a:t>
            </a:r>
          </a:p>
        </p:txBody>
      </p:sp>
      <p:sp>
        <p:nvSpPr>
          <p:cNvPr id="21" name="FLD_Event">
            <a:extLst>
              <a:ext uri="{FF2B5EF4-FFF2-40B4-BE49-F238E27FC236}">
                <a16:creationId xmlns:a16="http://schemas.microsoft.com/office/drawing/2014/main" id="{9D885253-00F6-4B48-A022-D4BA3A36F2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92294" y="5997600"/>
            <a:ext cx="2272432" cy="44767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341456" rIns="0" bIns="0" anchor="t" anchorCtr="0">
            <a:spAutoFit/>
          </a:bodyPr>
          <a:lstStyle/>
          <a:p>
            <a:pPr algn="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GB" sz="699" cap="all" dirty="0">
                <a:solidFill>
                  <a:srgbClr val="FFFFFF"/>
                </a:solidFill>
              </a:rPr>
              <a:t>EVENT</a:t>
            </a:r>
          </a:p>
        </p:txBody>
      </p:sp>
      <p:sp>
        <p:nvSpPr>
          <p:cNvPr id="24" name="USR_Name">
            <a:extLst>
              <a:ext uri="{FF2B5EF4-FFF2-40B4-BE49-F238E27FC236}">
                <a16:creationId xmlns:a16="http://schemas.microsoft.com/office/drawing/2014/main" id="{906037FE-CD0B-D246-ADAE-BD593819FD9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241669" y="5997600"/>
            <a:ext cx="2983193" cy="444040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lIns="0" tIns="341456" rIns="0" bIns="0" anchor="t" anchorCtr="0">
            <a:spAutoFit/>
          </a:bodyPr>
          <a:lstStyle/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GB" sz="699" cap="all" dirty="0">
                <a:solidFill>
                  <a:srgbClr val="FFFFFF"/>
                </a:solidFill>
                <a:latin typeface="AU Passata"/>
              </a:rPr>
              <a:t>NAME</a:t>
            </a:r>
          </a:p>
        </p:txBody>
      </p:sp>
      <p:sp>
        <p:nvSpPr>
          <p:cNvPr id="30" name="OFF_logo1Computed">
            <a:extLst>
              <a:ext uri="{FF2B5EF4-FFF2-40B4-BE49-F238E27FC236}">
                <a16:creationId xmlns:a16="http://schemas.microsoft.com/office/drawing/2014/main" id="{8A93CCFD-650B-1341-8C31-3270BB6359CF}"/>
              </a:ext>
            </a:extLst>
          </p:cNvPr>
          <p:cNvSpPr/>
          <p:nvPr userDrawn="1"/>
        </p:nvSpPr>
        <p:spPr bwMode="auto">
          <a:xfrm>
            <a:off x="972253" y="6007004"/>
            <a:ext cx="2180652" cy="590092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35942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00000"/>
              </a:lnSpc>
            </a:pPr>
            <a:endParaRPr lang="en-GB" sz="898" b="1" cap="all" noProof="1">
              <a:solidFill>
                <a:srgbClr val="FFFFFF"/>
              </a:solidFill>
            </a:endParaRPr>
          </a:p>
          <a:p>
            <a:pPr>
              <a:lnSpc>
                <a:spcPct val="100000"/>
              </a:lnSpc>
            </a:pPr>
            <a:endParaRPr lang="en-GB" sz="898" b="1" cap="all" noProof="1">
              <a:solidFill>
                <a:srgbClr val="FFFFFF"/>
              </a:solidFill>
            </a:endParaRPr>
          </a:p>
          <a:p>
            <a:pPr>
              <a:lnSpc>
                <a:spcPct val="100000"/>
              </a:lnSpc>
            </a:pPr>
            <a:r>
              <a:rPr lang="en-GB" sz="898" b="1" cap="all" noProof="1">
                <a:solidFill>
                  <a:srgbClr val="FFFFFF"/>
                </a:solidFill>
              </a:rPr>
              <a:t>DEPARTMENT OF POLITICAL SCIENCE</a:t>
            </a:r>
          </a:p>
          <a:p>
            <a:pPr>
              <a:lnSpc>
                <a:spcPct val="100000"/>
              </a:lnSpc>
            </a:pPr>
            <a:r>
              <a:rPr lang="en-GB" sz="898" cap="all" noProof="1">
                <a:solidFill>
                  <a:srgbClr val="FFFFFF"/>
                </a:solidFill>
              </a:rPr>
              <a:t>AARHUS UNIVERSITY</a:t>
            </a:r>
          </a:p>
        </p:txBody>
      </p:sp>
      <p:pic>
        <p:nvPicPr>
          <p:cNvPr id="25" name="Billede 24">
            <a:extLst>
              <a:ext uri="{FF2B5EF4-FFF2-40B4-BE49-F238E27FC236}">
                <a16:creationId xmlns:a16="http://schemas.microsoft.com/office/drawing/2014/main" id="{2089D777-7D3E-D24B-874B-DE85152B78C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509" y="5557202"/>
            <a:ext cx="3817418" cy="175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52125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6096" y="1960079"/>
            <a:ext cx="10222987" cy="3937484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-1974112" y="340163"/>
            <a:ext cx="1826368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Overskrift to linjer </a:t>
            </a:r>
            <a:endParaRPr lang="en-GB" sz="1798" dirty="0">
              <a:solidFill>
                <a:srgbClr val="000000"/>
              </a:solidFill>
              <a:latin typeface="AU Passata"/>
            </a:endParaRPr>
          </a:p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ændr 2. linje til</a:t>
            </a:r>
            <a:endParaRPr lang="en-GB" sz="1798" dirty="0">
              <a:solidFill>
                <a:srgbClr val="000000"/>
              </a:solidFill>
              <a:latin typeface="AU Passata"/>
            </a:endParaRPr>
          </a:p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AU Passata Bold</a:t>
            </a:r>
            <a:endParaRPr lang="en-GB" sz="4791" dirty="0">
              <a:solidFill>
                <a:srgbClr val="000000"/>
              </a:solidFill>
              <a:latin typeface="AU Passata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995459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ine title and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vid baggrund"/>
          <p:cNvSpPr/>
          <p:nvPr userDrawn="1"/>
        </p:nvSpPr>
        <p:spPr bwMode="auto">
          <a:xfrm>
            <a:off x="0" y="0"/>
            <a:ext cx="12196376" cy="5894387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295" tIns="45647" rIns="91295" bIns="456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GB" sz="1597" dirty="0">
              <a:solidFill>
                <a:srgbClr val="FFFFFF"/>
              </a:solidFill>
            </a:endParaRPr>
          </a:p>
        </p:txBody>
      </p:sp>
      <p:sp>
        <p:nvSpPr>
          <p:cNvPr id="16" name="Black Rectangle"/>
          <p:cNvSpPr/>
          <p:nvPr userDrawn="1"/>
        </p:nvSpPr>
        <p:spPr>
          <a:xfrm>
            <a:off x="990258" y="1045685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1" dirty="0">
              <a:solidFill>
                <a:srgbClr val="FFFFFF"/>
              </a:solidFill>
            </a:endParaRPr>
          </a:p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1" dirty="0">
              <a:solidFill>
                <a:srgbClr val="FFFFFF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15995" y="228628"/>
            <a:ext cx="11559010" cy="752101"/>
          </a:xfrm>
        </p:spPr>
        <p:txBody>
          <a:bodyPr anchor="t" anchorCtr="0"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6096" y="1373021"/>
            <a:ext cx="10222987" cy="4521366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18" name="TextBox 17"/>
          <p:cNvSpPr txBox="1"/>
          <p:nvPr userDrawn="1"/>
        </p:nvSpPr>
        <p:spPr>
          <a:xfrm>
            <a:off x="-1974112" y="340163"/>
            <a:ext cx="182636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Overskrift én linje</a:t>
            </a:r>
            <a:endParaRPr lang="en-GB" sz="1798" dirty="0">
              <a:solidFill>
                <a:srgbClr val="000000"/>
              </a:solidFill>
              <a:latin typeface="AU Passata"/>
            </a:endParaRPr>
          </a:p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Light eller AU Passata Bold</a:t>
            </a:r>
            <a:endParaRPr lang="en-GB" sz="4791" dirty="0">
              <a:solidFill>
                <a:srgbClr val="000000"/>
              </a:solidFill>
              <a:latin typeface="AU Passata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1121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00000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vid baggrund"/>
          <p:cNvSpPr/>
          <p:nvPr userDrawn="1"/>
        </p:nvSpPr>
        <p:spPr bwMode="auto">
          <a:xfrm>
            <a:off x="0" y="0"/>
            <a:ext cx="12196376" cy="5911200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295" tIns="45647" rIns="91295" bIns="456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GB" sz="1597" dirty="0">
              <a:solidFill>
                <a:srgbClr val="FFFFFF"/>
              </a:solidFill>
            </a:endParaRPr>
          </a:p>
        </p:txBody>
      </p:sp>
      <p:sp>
        <p:nvSpPr>
          <p:cNvPr id="15" name="Black Rectangle"/>
          <p:cNvSpPr/>
          <p:nvPr userDrawn="1"/>
        </p:nvSpPr>
        <p:spPr>
          <a:xfrm>
            <a:off x="990258" y="1045685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1" dirty="0">
              <a:solidFill>
                <a:srgbClr val="FFFFFF"/>
              </a:solidFill>
            </a:endParaRPr>
          </a:p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1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6884" y="230400"/>
            <a:ext cx="5645733" cy="752400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GB" dirty="0"/>
              <a:t>Insert title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986096" y="1371601"/>
            <a:ext cx="4976521" cy="4525964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31821" y="315913"/>
            <a:ext cx="5645580" cy="558165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-1974112" y="340163"/>
            <a:ext cx="182636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Overskrift én linje</a:t>
            </a:r>
            <a:endParaRPr lang="en-GB" sz="1798" dirty="0">
              <a:solidFill>
                <a:srgbClr val="000000"/>
              </a:solidFill>
              <a:latin typeface="AU Passata"/>
            </a:endParaRPr>
          </a:p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Light eller AU Passata Bold</a:t>
            </a:r>
            <a:endParaRPr lang="en-GB" sz="4791" dirty="0">
              <a:solidFill>
                <a:srgbClr val="000000"/>
              </a:solidFill>
              <a:latin typeface="AU Passata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0344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4">
          <p15:clr>
            <a:srgbClr val="A4A3A4"/>
          </p15:clr>
        </p15:guide>
        <p15:guide id="2" pos="3755">
          <p15:clr>
            <a:srgbClr val="A4A3A4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al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vid baggrund"/>
          <p:cNvSpPr/>
          <p:nvPr userDrawn="1"/>
        </p:nvSpPr>
        <p:spPr bwMode="auto">
          <a:xfrm>
            <a:off x="0" y="2"/>
            <a:ext cx="12196376" cy="5911011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295" tIns="45647" rIns="91295" bIns="456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GB" sz="1597" dirty="0">
              <a:solidFill>
                <a:srgbClr val="FFFFFF"/>
              </a:solidFill>
            </a:endParaRPr>
          </a:p>
        </p:txBody>
      </p:sp>
      <p:sp>
        <p:nvSpPr>
          <p:cNvPr id="15" name="Black Rectangle"/>
          <p:cNvSpPr/>
          <p:nvPr userDrawn="1"/>
        </p:nvSpPr>
        <p:spPr>
          <a:xfrm>
            <a:off x="1001336" y="2694542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1" dirty="0">
              <a:solidFill>
                <a:srgbClr val="FFFFFF"/>
              </a:solidFill>
            </a:endParaRPr>
          </a:p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1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096" y="1484784"/>
            <a:ext cx="4976521" cy="971980"/>
          </a:xfrm>
        </p:spPr>
        <p:txBody>
          <a:bodyPr anchor="b" anchorCtr="0"/>
          <a:lstStyle>
            <a:lvl1pPr>
              <a:lnSpc>
                <a:spcPct val="95000"/>
              </a:lnSpc>
              <a:defRPr sz="2995">
                <a:latin typeface="+mn-lt"/>
              </a:defRPr>
            </a:lvl1pPr>
          </a:lstStyle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986096" y="3010712"/>
            <a:ext cx="4976521" cy="1858449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dirty="0"/>
              <a:t>6</a:t>
            </a:r>
            <a:endParaRPr lang="en-GB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33223" y="315913"/>
            <a:ext cx="5646270" cy="55836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-1974112" y="1780882"/>
            <a:ext cx="182636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Overskrift to linjer</a:t>
            </a:r>
            <a:endParaRPr lang="en-GB" sz="1798" dirty="0">
              <a:solidFill>
                <a:srgbClr val="000000"/>
              </a:solidFill>
              <a:latin typeface="AU Passata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1102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0">
          <p15:clr>
            <a:srgbClr val="A4A3A4"/>
          </p15:clr>
        </p15:guide>
        <p15:guide id="2" pos="3755">
          <p15:clr>
            <a:srgbClr val="A4A3A4"/>
          </p15:clr>
        </p15:guide>
        <p15:guide id="3" orient="horz" pos="3069">
          <p15:clr>
            <a:srgbClr val="A4A3A4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"/>
          <p:cNvSpPr>
            <a:spLocks noGrp="1"/>
          </p:cNvSpPr>
          <p:nvPr>
            <p:ph type="pic" sz="quarter" idx="11" hasCustomPrompt="1"/>
          </p:nvPr>
        </p:nvSpPr>
        <p:spPr>
          <a:xfrm>
            <a:off x="316884" y="316800"/>
            <a:ext cx="11562611" cy="55836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47088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arvet baggrund"/>
          <p:cNvSpPr/>
          <p:nvPr userDrawn="1"/>
        </p:nvSpPr>
        <p:spPr>
          <a:xfrm>
            <a:off x="6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91" dirty="0"/>
          </a:p>
        </p:txBody>
      </p:sp>
      <p:sp>
        <p:nvSpPr>
          <p:cNvPr id="19" name="White Top Rectangle"/>
          <p:cNvSpPr>
            <a:spLocks noChangeArrowheads="1"/>
          </p:cNvSpPr>
          <p:nvPr userDrawn="1"/>
        </p:nvSpPr>
        <p:spPr bwMode="auto">
          <a:xfrm>
            <a:off x="986095" y="3443624"/>
            <a:ext cx="648169" cy="46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4791" dirty="0"/>
          </a:p>
        </p:txBody>
      </p:sp>
      <p:sp>
        <p:nvSpPr>
          <p:cNvPr id="34819" name="Title 1"/>
          <p:cNvSpPr>
            <a:spLocks noGrp="1" noChangeArrowheads="1"/>
          </p:cNvSpPr>
          <p:nvPr>
            <p:ph type="ctrTitle"/>
          </p:nvPr>
        </p:nvSpPr>
        <p:spPr>
          <a:xfrm>
            <a:off x="982105" y="1520316"/>
            <a:ext cx="9545793" cy="1779553"/>
          </a:xfrm>
        </p:spPr>
        <p:txBody>
          <a:bodyPr wrap="square" anchor="b" anchorCtr="0">
            <a:noAutofit/>
          </a:bodyPr>
          <a:lstStyle>
            <a:lvl1pPr>
              <a:lnSpc>
                <a:spcPct val="90000"/>
              </a:lnSpc>
              <a:defRPr sz="5992" baseline="0">
                <a:solidFill>
                  <a:schemeClr val="bg1"/>
                </a:solidFill>
                <a:latin typeface="AU Passata Light" panose="020B03030309020308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86095" y="3715432"/>
            <a:ext cx="7163077" cy="1746085"/>
          </a:xfrm>
        </p:spPr>
        <p:txBody>
          <a:bodyPr/>
          <a:lstStyle>
            <a:lvl1pPr marL="0" indent="0">
              <a:lnSpc>
                <a:spcPct val="101000"/>
              </a:lnSpc>
              <a:buFontTx/>
              <a:buNone/>
              <a:defRPr sz="2696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2160917" y="2132856"/>
            <a:ext cx="2013173" cy="738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Ændr 2. linje i overskriften </a:t>
            </a:r>
            <a:b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til AU Passata bold</a:t>
            </a:r>
            <a:endParaRPr lang="en-GB" sz="4791" dirty="0"/>
          </a:p>
        </p:txBody>
      </p:sp>
      <p:pic>
        <p:nvPicPr>
          <p:cNvPr id="23" name="Billede stre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4782" y="5997602"/>
            <a:ext cx="71753" cy="558603"/>
          </a:xfrm>
          <a:prstGeom prst="rect">
            <a:avLst/>
          </a:prstGeom>
        </p:spPr>
      </p:pic>
      <p:pic>
        <p:nvPicPr>
          <p:cNvPr id="18" name="Logo BS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7" y="5997600"/>
            <a:ext cx="600892" cy="601851"/>
          </a:xfrm>
          <a:prstGeom prst="rect">
            <a:avLst/>
          </a:prstGeom>
        </p:spPr>
      </p:pic>
      <p:sp>
        <p:nvSpPr>
          <p:cNvPr id="17" name="OFF_logo2Computed"/>
          <p:cNvSpPr txBox="1">
            <a:spLocks noChangeArrowheads="1"/>
          </p:cNvSpPr>
          <p:nvPr userDrawn="1"/>
        </p:nvSpPr>
        <p:spPr bwMode="auto">
          <a:xfrm>
            <a:off x="972259" y="5997602"/>
            <a:ext cx="2350657" cy="447724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68932" rIns="0" bIns="0">
            <a:spAutoFit/>
          </a:bodyPr>
          <a:lstStyle/>
          <a:p>
            <a:pPr>
              <a:lnSpc>
                <a:spcPct val="100000"/>
              </a:lnSpc>
              <a:defRPr/>
            </a:pPr>
            <a:endParaRPr lang="en-GB" sz="898" cap="all" spc="40" baseline="0" dirty="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00000"/>
              </a:lnSpc>
              <a:defRPr/>
            </a:pPr>
            <a:endParaRPr lang="en-GB" sz="898" cap="all" spc="4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0" name="Date_DateCustomA">
            <a:extLst>
              <a:ext uri="{FF2B5EF4-FFF2-40B4-BE49-F238E27FC236}">
                <a16:creationId xmlns:a16="http://schemas.microsoft.com/office/drawing/2014/main" id="{83B87CDF-1545-A043-B2EF-A5E40790EFA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71808" y="5863739"/>
            <a:ext cx="2272432" cy="582237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474444" rIns="0" bIns="0" anchor="t" anchorCtr="0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GB" sz="699" b="0" cap="all" baseline="0">
                <a:solidFill>
                  <a:schemeClr val="bg1"/>
                </a:solidFill>
                <a:latin typeface="+mn-lt"/>
              </a:rPr>
              <a:t>#opencpl</a:t>
            </a:r>
            <a:endParaRPr lang="en-GB" sz="699" b="0" cap="all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2" name="FLD_Event">
            <a:extLst>
              <a:ext uri="{FF2B5EF4-FFF2-40B4-BE49-F238E27FC236}">
                <a16:creationId xmlns:a16="http://schemas.microsoft.com/office/drawing/2014/main" id="{06090CB5-1AD5-8847-A56B-49392981F75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92294" y="5997601"/>
            <a:ext cx="2272432" cy="447738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341457" rIns="0" bIns="0" anchor="t" anchorCtr="0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GB" sz="699" b="0" kern="1200" cap="all" baseline="0">
                <a:solidFill>
                  <a:schemeClr val="bg1"/>
                </a:solidFill>
                <a:latin typeface="AU Passata" pitchFamily="34" charset="0"/>
                <a:ea typeface="+mn-ea"/>
                <a:cs typeface="+mn-cs"/>
              </a:rPr>
              <a:t>@ledelsescenter</a:t>
            </a:r>
            <a:endParaRPr lang="en-GB" sz="699" b="0" kern="1200" cap="all" baseline="0" dirty="0">
              <a:solidFill>
                <a:schemeClr val="bg1"/>
              </a:solidFill>
              <a:latin typeface="AU Passata" pitchFamily="34" charset="0"/>
              <a:ea typeface="+mn-ea"/>
              <a:cs typeface="+mn-cs"/>
            </a:endParaRPr>
          </a:p>
        </p:txBody>
      </p:sp>
      <p:sp>
        <p:nvSpPr>
          <p:cNvPr id="34" name="OFF_logo1Computed">
            <a:extLst>
              <a:ext uri="{FF2B5EF4-FFF2-40B4-BE49-F238E27FC236}">
                <a16:creationId xmlns:a16="http://schemas.microsoft.com/office/drawing/2014/main" id="{D90FCB66-191C-9349-8604-080297494FC7}"/>
              </a:ext>
            </a:extLst>
          </p:cNvPr>
          <p:cNvSpPr/>
          <p:nvPr userDrawn="1"/>
        </p:nvSpPr>
        <p:spPr bwMode="auto">
          <a:xfrm>
            <a:off x="972255" y="6007004"/>
            <a:ext cx="2180652" cy="590092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35942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30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8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9130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8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9130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8" b="1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DEPARTMENT OF POLITICAL SCIENCE</a:t>
            </a:r>
          </a:p>
          <a:p>
            <a:pPr marL="0" marR="0" indent="0" algn="l" defTabSz="9130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8" b="0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AARHUS UNIVERSITY</a:t>
            </a:r>
          </a:p>
        </p:txBody>
      </p:sp>
      <p:pic>
        <p:nvPicPr>
          <p:cNvPr id="20" name="Billede 19">
            <a:extLst>
              <a:ext uri="{FF2B5EF4-FFF2-40B4-BE49-F238E27FC236}">
                <a16:creationId xmlns:a16="http://schemas.microsoft.com/office/drawing/2014/main" id="{82A5F6B1-A95E-6C45-AEE6-A51D39B9315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9693" y="6184355"/>
            <a:ext cx="2804143" cy="504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22108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1" hasCustomPrompt="1"/>
          </p:nvPr>
        </p:nvSpPr>
        <p:spPr>
          <a:xfrm>
            <a:off x="316883" y="316800"/>
            <a:ext cx="5646270" cy="55836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233223" y="316800"/>
            <a:ext cx="5646270" cy="55836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1576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4">
          <p15:clr>
            <a:srgbClr val="A4A3A4"/>
          </p15:clr>
        </p15:guide>
        <p15:guide id="2" pos="3754">
          <p15:clr>
            <a:srgbClr val="A4A3A4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1" hasCustomPrompt="1"/>
          </p:nvPr>
        </p:nvSpPr>
        <p:spPr>
          <a:xfrm>
            <a:off x="316883" y="316800"/>
            <a:ext cx="5646270" cy="26532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316883" y="3237373"/>
            <a:ext cx="5646270" cy="26532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33223" y="316800"/>
            <a:ext cx="5646270" cy="55836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9" name="Footer Placeholder 8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861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2">
          <p15:clr>
            <a:srgbClr val="A4A3A4"/>
          </p15:clr>
        </p15:guide>
        <p15:guide id="2" pos="3755">
          <p15:clr>
            <a:srgbClr val="A4A3A4"/>
          </p15:clr>
        </p15:guide>
        <p15:guide id="3" orient="horz" pos="2039">
          <p15:clr>
            <a:srgbClr val="A4A3A4"/>
          </p15:clr>
        </p15:guide>
        <p15:guide id="4" orient="horz" pos="1872">
          <p15:clr>
            <a:srgbClr val="A4A3A4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>
          <a:xfrm>
            <a:off x="316883" y="316800"/>
            <a:ext cx="5646270" cy="55836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233223" y="316800"/>
            <a:ext cx="5646270" cy="26532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33223" y="3237373"/>
            <a:ext cx="5646270" cy="26532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9" name="Footer Placeholder 8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4165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2">
          <p15:clr>
            <a:srgbClr val="A4A3A4"/>
          </p15:clr>
        </p15:guide>
        <p15:guide id="2" pos="3755">
          <p15:clr>
            <a:srgbClr val="A4A3A4"/>
          </p15:clr>
        </p15:guide>
        <p15:guide id="3" orient="horz" pos="2039">
          <p15:clr>
            <a:srgbClr val="A4A3A4"/>
          </p15:clr>
        </p15:guide>
        <p15:guide id="4" orient="horz" pos="1872">
          <p15:clr>
            <a:srgbClr val="A4A3A4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315996" y="315914"/>
            <a:ext cx="11560010" cy="6220354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723022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vid baggrund"/>
          <p:cNvSpPr/>
          <p:nvPr userDrawn="1"/>
        </p:nvSpPr>
        <p:spPr bwMode="auto">
          <a:xfrm>
            <a:off x="2" y="1"/>
            <a:ext cx="12192000" cy="5897563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95" tIns="45647" rIns="91295" bIns="45647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GB" sz="1597" dirty="0">
              <a:solidFill>
                <a:srgbClr val="FFFFFF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Text Placeholder 61"/>
          <p:cNvSpPr>
            <a:spLocks noGrp="1"/>
          </p:cNvSpPr>
          <p:nvPr>
            <p:ph type="body" sz="quarter" idx="16" hasCustomPrompt="1"/>
          </p:nvPr>
        </p:nvSpPr>
        <p:spPr>
          <a:xfrm>
            <a:off x="1846422" y="1412776"/>
            <a:ext cx="8499157" cy="3744416"/>
          </a:xfrm>
        </p:spPr>
        <p:txBody>
          <a:bodyPr/>
          <a:lstStyle>
            <a:lvl1pPr marL="431308" indent="-431308" algn="ctr">
              <a:lnSpc>
                <a:spcPct val="107000"/>
              </a:lnSpc>
              <a:buSzPct val="250000"/>
              <a:buFontTx/>
              <a:buBlip>
                <a:blip r:embed="rId2"/>
              </a:buBlip>
              <a:defRPr sz="2796">
                <a:latin typeface="Georgia" panose="02040502050405020303" pitchFamily="18" charset="0"/>
              </a:defRPr>
            </a:lvl1pPr>
            <a:lvl2pPr marL="215655" indent="-215655" algn="ctr">
              <a:lnSpc>
                <a:spcPct val="99000"/>
              </a:lnSpc>
              <a:buFont typeface="Arial" panose="020B0604020202020204" pitchFamily="34" charset="0"/>
              <a:buChar char="-"/>
              <a:defRPr sz="1997" cap="all" baseline="0">
                <a:latin typeface="Georgia" panose="02040502050405020303" pitchFamily="18" charset="0"/>
              </a:defRPr>
            </a:lvl2pPr>
            <a:lvl3pPr algn="ctr">
              <a:buFontTx/>
              <a:buNone/>
              <a:defRPr/>
            </a:lvl3pPr>
          </a:lstStyle>
          <a:p>
            <a:pPr lvl="0"/>
            <a:r>
              <a:rPr lang="en-GB" dirty="0"/>
              <a:t>Click to add Quote text, for next level ENTER and TAB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973114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vid baggrund"/>
          <p:cNvSpPr/>
          <p:nvPr userDrawn="1"/>
        </p:nvSpPr>
        <p:spPr bwMode="auto">
          <a:xfrm>
            <a:off x="2" y="1"/>
            <a:ext cx="12192000" cy="5897563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95" tIns="45647" rIns="91295" bIns="45647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GB" sz="1597" dirty="0">
              <a:solidFill>
                <a:srgbClr val="FFFFFF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15995" y="230400"/>
            <a:ext cx="11566212" cy="752400"/>
          </a:xfrm>
        </p:spPr>
        <p:txBody>
          <a:bodyPr anchor="t" anchorCtr="0"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10" name="Footer Placeholder 9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998849" y="1853462"/>
            <a:ext cx="6266328" cy="2725288"/>
          </a:xfrm>
        </p:spPr>
        <p:txBody>
          <a:bodyPr/>
          <a:lstStyle>
            <a:lvl1pPr marL="431308" indent="-431308" algn="ctr">
              <a:lnSpc>
                <a:spcPct val="107000"/>
              </a:lnSpc>
              <a:buSzPct val="250000"/>
              <a:buFontTx/>
              <a:buBlip>
                <a:blip r:embed="rId2"/>
              </a:buBlip>
              <a:defRPr sz="2796">
                <a:latin typeface="Georgia" panose="02040502050405020303" pitchFamily="18" charset="0"/>
              </a:defRPr>
            </a:lvl1pPr>
            <a:lvl2pPr marL="215655" indent="-215655" algn="ctr">
              <a:lnSpc>
                <a:spcPct val="99000"/>
              </a:lnSpc>
              <a:buFont typeface="Arial" panose="020B0604020202020204" pitchFamily="34" charset="0"/>
              <a:buChar char="-"/>
              <a:defRPr sz="1997" cap="all" baseline="0">
                <a:latin typeface="Georgia" panose="02040502050405020303" pitchFamily="18" charset="0"/>
              </a:defRPr>
            </a:lvl2pPr>
            <a:lvl3pPr marL="575078" indent="0">
              <a:buNone/>
              <a:defRPr/>
            </a:lvl3pPr>
          </a:lstStyle>
          <a:p>
            <a:pPr lvl="0"/>
            <a:r>
              <a:rPr lang="en-GB" dirty="0"/>
              <a:t>Click to add Quote text, for next level ENTER and TAB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123545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"/>
          <p:cNvSpPr>
            <a:spLocks noGrp="1"/>
          </p:cNvSpPr>
          <p:nvPr>
            <p:ph sz="quarter" idx="12"/>
          </p:nvPr>
        </p:nvSpPr>
        <p:spPr>
          <a:xfrm>
            <a:off x="328698" y="328613"/>
            <a:ext cx="11553659" cy="621347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053075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6" name="TextBox 5"/>
          <p:cNvSpPr txBox="1"/>
          <p:nvPr userDrawn="1"/>
        </p:nvSpPr>
        <p:spPr>
          <a:xfrm>
            <a:off x="-2160916" y="1022477"/>
            <a:ext cx="2013173" cy="4734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Ændr 2. linje i overskriften </a:t>
            </a:r>
            <a:b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</a:br>
            <a:r>
              <a:rPr lang="en-GB" sz="998" noProof="1">
                <a:solidFill>
                  <a:srgbClr val="000000">
                    <a:lumMod val="75000"/>
                    <a:lumOff val="25000"/>
                  </a:srgbClr>
                </a:solidFill>
                <a:latin typeface="AU Passata"/>
              </a:rPr>
              <a:t>til AU Passata Light</a:t>
            </a:r>
            <a:endParaRPr lang="en-GB" sz="4791" dirty="0">
              <a:solidFill>
                <a:srgbClr val="000000"/>
              </a:solidFill>
              <a:latin typeface="AU Passata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665919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766019" y="1340769"/>
            <a:ext cx="1224455" cy="504056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95" tIns="45647" rIns="91295" bIns="45647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GB" sz="1597" dirty="0">
              <a:solidFill>
                <a:srgbClr val="FFFFFF"/>
              </a:solidFill>
            </a:endParaRPr>
          </a:p>
        </p:txBody>
      </p:sp>
      <p:sp>
        <p:nvSpPr>
          <p:cNvPr id="8" name="Slide Number Placeholder 7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589766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arvet baggrund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1" dirty="0">
              <a:solidFill>
                <a:srgbClr val="FFFFFF"/>
              </a:solidFill>
            </a:endParaRPr>
          </a:p>
        </p:txBody>
      </p:sp>
      <p:pic>
        <p:nvPicPr>
          <p:cNvPr id="4" name="Logo BS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879" y="2229267"/>
            <a:ext cx="2398246" cy="2399468"/>
          </a:xfrm>
          <a:prstGeom prst="rect">
            <a:avLst/>
          </a:prstGeom>
        </p:spPr>
      </p:pic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1"/>
            <a:ext cx="0" cy="769441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95448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arvet baggrund"/>
          <p:cNvSpPr/>
          <p:nvPr userDrawn="1"/>
        </p:nvSpPr>
        <p:spPr>
          <a:xfrm>
            <a:off x="6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91" dirty="0"/>
          </a:p>
        </p:txBody>
      </p:sp>
      <p:sp>
        <p:nvSpPr>
          <p:cNvPr id="34819" name="Title 1"/>
          <p:cNvSpPr>
            <a:spLocks noGrp="1" noChangeArrowheads="1"/>
          </p:cNvSpPr>
          <p:nvPr>
            <p:ph type="ctrTitle"/>
          </p:nvPr>
        </p:nvSpPr>
        <p:spPr>
          <a:xfrm>
            <a:off x="986100" y="2482215"/>
            <a:ext cx="10222987" cy="1662250"/>
          </a:xfrm>
        </p:spPr>
        <p:txBody>
          <a:bodyPr wrap="square" anchor="ctr" anchorCtr="0">
            <a:spAutoFit/>
          </a:bodyPr>
          <a:lstStyle>
            <a:lvl1pPr>
              <a:lnSpc>
                <a:spcPct val="90000"/>
              </a:lnSpc>
              <a:defRPr sz="5992" baseline="0">
                <a:solidFill>
                  <a:schemeClr val="bg1"/>
                </a:solidFill>
                <a:latin typeface="AU Passata Light" panose="020B03030309020308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1974112" y="3082509"/>
            <a:ext cx="1826368" cy="3077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998" baseline="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Ændr 2. linje eller ord til</a:t>
            </a:r>
            <a:endParaRPr lang="en-GB" sz="4791"/>
          </a:p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AU Passata Bold</a:t>
            </a:r>
            <a:endParaRPr lang="en-GB" sz="4791" dirty="0"/>
          </a:p>
        </p:txBody>
      </p:sp>
      <p:pic>
        <p:nvPicPr>
          <p:cNvPr id="23" name="Billed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4782" y="5997602"/>
            <a:ext cx="71753" cy="558603"/>
          </a:xfrm>
          <a:prstGeom prst="rect">
            <a:avLst/>
          </a:prstGeom>
        </p:spPr>
      </p:pic>
      <p:pic>
        <p:nvPicPr>
          <p:cNvPr id="16" name="Logo BS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7" y="5997600"/>
            <a:ext cx="600892" cy="601851"/>
          </a:xfrm>
          <a:prstGeom prst="rect">
            <a:avLst/>
          </a:prstGeom>
        </p:spPr>
      </p:pic>
      <p:sp>
        <p:nvSpPr>
          <p:cNvPr id="17" name="OFF_logo2Computed"/>
          <p:cNvSpPr txBox="1">
            <a:spLocks noChangeArrowheads="1"/>
          </p:cNvSpPr>
          <p:nvPr userDrawn="1"/>
        </p:nvSpPr>
        <p:spPr bwMode="auto">
          <a:xfrm>
            <a:off x="972259" y="5997602"/>
            <a:ext cx="2350657" cy="447724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68932" rIns="0" bIns="0">
            <a:spAutoFit/>
          </a:bodyPr>
          <a:lstStyle/>
          <a:p>
            <a:pPr>
              <a:lnSpc>
                <a:spcPct val="100000"/>
              </a:lnSpc>
              <a:defRPr/>
            </a:pPr>
            <a:endParaRPr lang="en-GB" sz="898" cap="all" spc="40" baseline="0" dirty="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00000"/>
              </a:lnSpc>
              <a:defRPr/>
            </a:pPr>
            <a:endParaRPr lang="en-GB" sz="898" cap="all" spc="4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9" name="Date_DateCustomA">
            <a:extLst>
              <a:ext uri="{FF2B5EF4-FFF2-40B4-BE49-F238E27FC236}">
                <a16:creationId xmlns:a16="http://schemas.microsoft.com/office/drawing/2014/main" id="{39E94D8C-5906-5243-B2B8-14863ACA416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71808" y="5863101"/>
            <a:ext cx="2272432" cy="582237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474444" rIns="0" bIns="0" anchor="t" anchorCtr="0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GB" sz="699" b="0" cap="all" baseline="0">
                <a:solidFill>
                  <a:schemeClr val="bg1"/>
                </a:solidFill>
                <a:latin typeface="+mn-lt"/>
              </a:rPr>
              <a:t>#opencpl</a:t>
            </a:r>
            <a:endParaRPr lang="en-GB" sz="699" b="0" cap="all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1" name="FLD_Event">
            <a:extLst>
              <a:ext uri="{FF2B5EF4-FFF2-40B4-BE49-F238E27FC236}">
                <a16:creationId xmlns:a16="http://schemas.microsoft.com/office/drawing/2014/main" id="{9D885253-00F6-4B48-A022-D4BA3A36F2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92294" y="5997601"/>
            <a:ext cx="2272432" cy="447738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341457" rIns="0" bIns="0" anchor="t" anchorCtr="0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GB" sz="699" b="0" kern="1200" cap="all" baseline="0">
                <a:solidFill>
                  <a:schemeClr val="bg1"/>
                </a:solidFill>
                <a:latin typeface="AU Passata" pitchFamily="34" charset="0"/>
                <a:ea typeface="+mn-ea"/>
                <a:cs typeface="+mn-cs"/>
              </a:rPr>
              <a:t>@ledelsescenter</a:t>
            </a:r>
            <a:endParaRPr lang="en-GB" sz="699" b="0" kern="1200" cap="all" baseline="0" dirty="0">
              <a:solidFill>
                <a:schemeClr val="bg1"/>
              </a:solidFill>
              <a:latin typeface="AU Passata" pitchFamily="34" charset="0"/>
              <a:ea typeface="+mn-ea"/>
              <a:cs typeface="+mn-cs"/>
            </a:endParaRPr>
          </a:p>
        </p:txBody>
      </p:sp>
      <p:sp>
        <p:nvSpPr>
          <p:cNvPr id="30" name="OFF_logo1Computed">
            <a:extLst>
              <a:ext uri="{FF2B5EF4-FFF2-40B4-BE49-F238E27FC236}">
                <a16:creationId xmlns:a16="http://schemas.microsoft.com/office/drawing/2014/main" id="{8A93CCFD-650B-1341-8C31-3270BB6359CF}"/>
              </a:ext>
            </a:extLst>
          </p:cNvPr>
          <p:cNvSpPr/>
          <p:nvPr userDrawn="1"/>
        </p:nvSpPr>
        <p:spPr bwMode="auto">
          <a:xfrm>
            <a:off x="972255" y="6007004"/>
            <a:ext cx="2180652" cy="590092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35942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30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8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9130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8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9130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8" b="1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DEPARTMENT OF POLITICAL SCIENCE</a:t>
            </a:r>
          </a:p>
          <a:p>
            <a:pPr marL="0" marR="0" indent="0" algn="l" defTabSz="9130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8" b="0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AARHUS UNIVERSITY</a:t>
            </a:r>
          </a:p>
        </p:txBody>
      </p:sp>
      <p:pic>
        <p:nvPicPr>
          <p:cNvPr id="18" name="Billede 17">
            <a:extLst>
              <a:ext uri="{FF2B5EF4-FFF2-40B4-BE49-F238E27FC236}">
                <a16:creationId xmlns:a16="http://schemas.microsoft.com/office/drawing/2014/main" id="{A2FC0EED-E44B-BE48-BAB7-9071150A1B4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9693" y="6184355"/>
            <a:ext cx="2804143" cy="504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26873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arvet baggrund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1" dirty="0">
              <a:solidFill>
                <a:srgbClr val="FFFFFF"/>
              </a:solidFill>
            </a:endParaRPr>
          </a:p>
        </p:txBody>
      </p:sp>
      <p:pic>
        <p:nvPicPr>
          <p:cNvPr id="7" name="Logo BS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9058" y="2520002"/>
            <a:ext cx="1650805" cy="1650375"/>
          </a:xfrm>
          <a:prstGeom prst="rect">
            <a:avLst/>
          </a:prstGeom>
        </p:spPr>
      </p:pic>
      <p:sp>
        <p:nvSpPr>
          <p:cNvPr id="6" name="OFF_logo2Computed"/>
          <p:cNvSpPr txBox="1">
            <a:spLocks noChangeArrowheads="1"/>
          </p:cNvSpPr>
          <p:nvPr userDrawn="1"/>
        </p:nvSpPr>
        <p:spPr bwMode="auto">
          <a:xfrm>
            <a:off x="4393144" y="2520002"/>
            <a:ext cx="7482862" cy="869657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492415" rIns="0" bIns="0">
            <a:spAutoFit/>
          </a:bodyPr>
          <a:lstStyle/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2297" cap="all" spc="200" dirty="0">
              <a:solidFill>
                <a:srgbClr val="FFFFFF"/>
              </a:solidFill>
            </a:endParaRPr>
          </a:p>
        </p:txBody>
      </p:sp>
      <p:sp>
        <p:nvSpPr>
          <p:cNvPr id="10" name="OFF_logo1Computed"/>
          <p:cNvSpPr txBox="1">
            <a:spLocks noChangeArrowheads="1"/>
          </p:cNvSpPr>
          <p:nvPr userDrawn="1"/>
        </p:nvSpPr>
        <p:spPr bwMode="auto">
          <a:xfrm>
            <a:off x="4871546" y="2545400"/>
            <a:ext cx="7482862" cy="161015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22205" rIns="0" bIns="0">
            <a:spAutoFit/>
          </a:bodyPr>
          <a:lstStyle/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2297" b="1" cap="all" spc="100" dirty="0">
              <a:solidFill>
                <a:srgbClr val="FFFFFF"/>
              </a:solidFill>
            </a:endParaRPr>
          </a:p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2297" b="1" cap="all" spc="100" dirty="0">
              <a:solidFill>
                <a:srgbClr val="FFFFFF"/>
              </a:solidFill>
            </a:endParaRPr>
          </a:p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GB" sz="2297" b="1" cap="all" spc="100" dirty="0">
                <a:solidFill>
                  <a:srgbClr val="FFFFFF"/>
                </a:solidFill>
              </a:rPr>
              <a:t>INSTITUT FOR STATSKUNDSKAB</a:t>
            </a:r>
          </a:p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GB" sz="2297" cap="all" spc="100" dirty="0">
                <a:solidFill>
                  <a:srgbClr val="FFFFFF"/>
                </a:solidFill>
              </a:rPr>
              <a:t>AARHUS UNIVERSITET</a:t>
            </a:r>
          </a:p>
        </p:txBody>
      </p:sp>
      <p:sp>
        <p:nvSpPr>
          <p:cNvPr id="9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11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1"/>
            <a:ext cx="0" cy="769441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384342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 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arvet baggrund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1" dirty="0">
              <a:solidFill>
                <a:srgbClr val="FFFFFF"/>
              </a:solidFill>
            </a:endParaRPr>
          </a:p>
        </p:txBody>
      </p:sp>
      <p:sp>
        <p:nvSpPr>
          <p:cNvPr id="6" name="OFF_logo2Computed"/>
          <p:cNvSpPr txBox="1">
            <a:spLocks noChangeArrowheads="1"/>
          </p:cNvSpPr>
          <p:nvPr userDrawn="1"/>
        </p:nvSpPr>
        <p:spPr bwMode="auto">
          <a:xfrm>
            <a:off x="4393144" y="2520002"/>
            <a:ext cx="7482862" cy="869657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492415" rIns="0" bIns="0">
            <a:spAutoFit/>
          </a:bodyPr>
          <a:lstStyle/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2297" cap="all" spc="200" dirty="0">
              <a:solidFill>
                <a:srgbClr val="FFFFFF"/>
              </a:solidFill>
            </a:endParaRPr>
          </a:p>
        </p:txBody>
      </p:sp>
      <p:sp>
        <p:nvSpPr>
          <p:cNvPr id="9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11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1"/>
            <a:ext cx="0" cy="769441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3FF57DD2-E465-D142-901B-8F8B5CD4A9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962" y="1066366"/>
            <a:ext cx="9630246" cy="4420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96881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lede 17">
            <a:extLst>
              <a:ext uri="{FF2B5EF4-FFF2-40B4-BE49-F238E27FC236}">
                <a16:creationId xmlns:a16="http://schemas.microsoft.com/office/drawing/2014/main" id="{0FADFA77-4294-4494-B9BA-9EA84CBE16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943871" y="3152939"/>
            <a:ext cx="6624737" cy="1356181"/>
          </a:xfrm>
        </p:spPr>
        <p:txBody>
          <a:bodyPr anchor="t" anchorCtr="0"/>
          <a:lstStyle>
            <a:lvl1pPr>
              <a:defRPr sz="3600">
                <a:solidFill>
                  <a:srgbClr val="5C818B"/>
                </a:solidFill>
              </a:defRPr>
            </a:lvl1pPr>
          </a:lstStyle>
          <a:p>
            <a:r>
              <a:rPr lang="da-DK" dirty="0"/>
              <a:t>Overskrift 36 pt skrives her i to eller flere linjer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941319" y="4797152"/>
            <a:ext cx="6624737" cy="888504"/>
          </a:xfrm>
        </p:spPr>
        <p:txBody>
          <a:bodyPr/>
          <a:lstStyle>
            <a:lvl1pPr marL="0" indent="0" algn="l">
              <a:lnSpc>
                <a:spcPct val="89000"/>
              </a:lnSpc>
              <a:buNone/>
              <a:defRPr sz="2000" baseline="0">
                <a:solidFill>
                  <a:srgbClr val="5C818B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Underoverskrift 20pt skrives her i to linjer eller max tre linjer</a:t>
            </a:r>
          </a:p>
        </p:txBody>
      </p:sp>
      <p:sp>
        <p:nvSpPr>
          <p:cNvPr id="17" name="text" descr="{&quot;templafy&quot;:{&quot;id&quot;:&quot;5a24f27e-a91f-40e4-9a57-11bca2912093&quot;}}" title="Form.PresentationTitle">
            <a:extLst>
              <a:ext uri="{FF2B5EF4-FFF2-40B4-BE49-F238E27FC236}">
                <a16:creationId xmlns:a16="http://schemas.microsoft.com/office/drawing/2014/main" id="{6E96F3D6-F9A3-4A0A-AF11-9947015BA81A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19" name="text" descr="{&quot;templafy&quot;:{&quot;id&quot;:&quot;27f04b40-1f52-4ad2-8673-19146f74321f&quot;}}" title="UserProfile.Name">
            <a:extLst>
              <a:ext uri="{FF2B5EF4-FFF2-40B4-BE49-F238E27FC236}">
                <a16:creationId xmlns:a16="http://schemas.microsoft.com/office/drawing/2014/main" id="{443C3F1B-6F22-44FD-9D20-8046FEEFD6D9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DB375924-8F1B-4A42-B386-30D658A1EE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40073283-4609-4E3F-B89A-30DFFAA2EA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57804933" name="image" descr="{&quot;templafy&quot;:{&quot;id&quot;:&quot;5a4e4ddd-03a0-48ad-86fc-790885a0b952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29" name="text" descr="{&quot;templafy&quot;:{&quot;id&quot;:&quot;8cc16c53-fb3f-4121-a465-a2a0d08efebd&quot;}}" hidden="1" title="UserProfile.CenterFreeText">
            <a:extLst>
              <a:ext uri="{FF2B5EF4-FFF2-40B4-BE49-F238E27FC236}">
                <a16:creationId xmlns:a16="http://schemas.microsoft.com/office/drawing/2014/main" id="{5A30AC9F-7EFA-48B4-8857-325A6FCD653B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31" name="text" descr="{&quot;templafy&quot;:{&quot;id&quot;:&quot;0ca78db9-1f34-4a6a-b3d5-428e8457d8fb&quot;}}" hidden="1" title="Form.Manuel_dato">
            <a:extLst>
              <a:ext uri="{FF2B5EF4-FFF2-40B4-BE49-F238E27FC236}">
                <a16:creationId xmlns:a16="http://schemas.microsoft.com/office/drawing/2014/main" id="{85898D87-959A-4A63-81D8-7ADE604F6901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35640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Èn tekst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1367391" y="872716"/>
            <a:ext cx="10137524" cy="828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Overskrift 28pt i max. to linjer </a:t>
            </a:r>
            <a:br>
              <a:rPr lang="da-DK" dirty="0"/>
            </a:br>
            <a:r>
              <a:rPr lang="da-DK" dirty="0"/>
              <a:t>teksten vokser opad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 hasCustomPrompt="1"/>
          </p:nvPr>
        </p:nvSpPr>
        <p:spPr>
          <a:xfrm>
            <a:off x="1367999" y="1989138"/>
            <a:ext cx="10136614" cy="3996145"/>
          </a:xfrm>
        </p:spPr>
        <p:txBody>
          <a:bodyPr/>
          <a:lstStyle>
            <a:lvl1pPr marL="270000" indent="-270000">
              <a:defRPr/>
            </a:lvl1pPr>
            <a:lvl2pPr marL="630000" indent="-270000">
              <a:defRPr/>
            </a:lvl2pPr>
            <a:lvl3pPr marL="936000" indent="-234000">
              <a:defRPr/>
            </a:lvl3pPr>
            <a:lvl4pPr marL="1296000" indent="-216000">
              <a:defRPr/>
            </a:lvl4pPr>
            <a:lvl5pPr marL="1656000" indent="-216000">
              <a:defRPr/>
            </a:lvl5pPr>
            <a:lvl6pPr marL="1998000" indent="-180000">
              <a:defRPr/>
            </a:lvl6pPr>
            <a:lvl7pPr marL="2358000" indent="-180000">
              <a:defRPr/>
            </a:lvl7pPr>
            <a:lvl8pPr marL="2718000" indent="-180000">
              <a:defRPr/>
            </a:lvl8pPr>
            <a:lvl9pPr marL="2718000" indent="-180000">
              <a:defRPr sz="1000"/>
            </a:lvl9pPr>
          </a:lstStyle>
          <a:p>
            <a:pPr lvl="0"/>
            <a:r>
              <a:rPr lang="da-DK" dirty="0"/>
              <a:t>Brødtekst 22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sp>
        <p:nvSpPr>
          <p:cNvPr id="7" name="text" descr="{&quot;templafy&quot;:{&quot;id&quot;:&quot;e45bdb66-735d-47e2-a0dd-234e7837c26f&quot;}}" hidden="1" title="UserProfile.CenterFreeText">
            <a:extLst>
              <a:ext uri="{FF2B5EF4-FFF2-40B4-BE49-F238E27FC236}">
                <a16:creationId xmlns:a16="http://schemas.microsoft.com/office/drawing/2014/main" id="{E53FC353-2F0F-4922-821A-1A51D53892CD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9" name="text" descr="{&quot;templafy&quot;:{&quot;id&quot;:&quot;4dda4036-98b2-42a4-a2c2-93edfa66ef6d&quot;}}" title="Form.PresentationTitle">
            <a:extLst>
              <a:ext uri="{FF2B5EF4-FFF2-40B4-BE49-F238E27FC236}">
                <a16:creationId xmlns:a16="http://schemas.microsoft.com/office/drawing/2014/main" id="{53BDA2D0-B22F-42B1-A4C9-3F000756EB91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pic>
        <p:nvPicPr>
          <p:cNvPr id="1123864823" name="image" descr="{&quot;templafy&quot;:{&quot;id&quot;:&quot;fd6fe772-42fe-4deb-970d-ff910f24d29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22" name="text" descr="{&quot;templafy&quot;:{&quot;id&quot;:&quot;e3aec226-ce87-4f1e-9730-49c43d4887b8&quot;}}" title="UserProfile.Name">
            <a:extLst>
              <a:ext uri="{FF2B5EF4-FFF2-40B4-BE49-F238E27FC236}">
                <a16:creationId xmlns:a16="http://schemas.microsoft.com/office/drawing/2014/main" id="{2436B9E0-97E8-428C-B474-A1B8FBC4D037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sp>
        <p:nvSpPr>
          <p:cNvPr id="23" name="text" descr="{&quot;templafy&quot;:{&quot;id&quot;:&quot;578e9232-c971-4db3-9317-b0ca24de66d0&quot;}}" hidden="1" title="Form.Manuel_dato">
            <a:extLst>
              <a:ext uri="{FF2B5EF4-FFF2-40B4-BE49-F238E27FC236}">
                <a16:creationId xmlns:a16="http://schemas.microsoft.com/office/drawing/2014/main" id="{D852104B-31C3-45BB-B8A2-2EFD81BDA39E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pic>
        <p:nvPicPr>
          <p:cNvPr id="1500417958" name="image" descr="{&quot;templafy&quot;:{&quot;id&quot;:&quot;849d8d41-4ac2-45dd-8ba1-0e79b8c5810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7600" y="97200"/>
            <a:ext cx="2178000" cy="684000"/>
          </a:xfrm>
          <a:prstGeom prst="rect">
            <a:avLst/>
          </a:prstGeom>
        </p:spPr>
      </p:pic>
      <p:pic>
        <p:nvPicPr>
          <p:cNvPr id="4" name="Billede 3" descr="Et billede, der indeholder tekst&#10;&#10;Automatisk genereret beskrivelse">
            <a:extLst>
              <a:ext uri="{FF2B5EF4-FFF2-40B4-BE49-F238E27FC236}">
                <a16:creationId xmlns:a16="http://schemas.microsoft.com/office/drawing/2014/main" id="{AB4F20AF-CBD4-433C-B202-AC922799AA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86708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illede og 2/3 tekst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F414A781-E1EA-496D-8900-B19CC30039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Overskrift 28pt i max. to linjer </a:t>
            </a:r>
            <a:br>
              <a:rPr lang="da-DK" dirty="0"/>
            </a:br>
            <a:r>
              <a:rPr lang="da-DK" dirty="0"/>
              <a:t>teksten vokser opad</a:t>
            </a:r>
            <a:endParaRPr lang="en-GB" dirty="0"/>
          </a:p>
        </p:txBody>
      </p:sp>
      <p:sp>
        <p:nvSpPr>
          <p:cNvPr id="25" name="Pladsholder til billede 2"/>
          <p:cNvSpPr>
            <a:spLocks noGrp="1"/>
          </p:cNvSpPr>
          <p:nvPr>
            <p:ph type="pic" sz="quarter" idx="16" hasCustomPrompt="1"/>
          </p:nvPr>
        </p:nvSpPr>
        <p:spPr>
          <a:xfrm>
            <a:off x="1367999" y="1974850"/>
            <a:ext cx="3503865" cy="4118446"/>
          </a:xfrm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accent6"/>
                </a:solidFill>
              </a:defRPr>
            </a:lvl1pPr>
          </a:lstStyle>
          <a:p>
            <a:r>
              <a:rPr lang="da-DK" dirty="0"/>
              <a:t>Klik på ikon for at indsætte billede</a:t>
            </a:r>
          </a:p>
        </p:txBody>
      </p:sp>
      <p:sp>
        <p:nvSpPr>
          <p:cNvPr id="17" name="Pladsholder til indhold 4"/>
          <p:cNvSpPr>
            <a:spLocks noGrp="1"/>
          </p:cNvSpPr>
          <p:nvPr>
            <p:ph sz="quarter" idx="14" hasCustomPrompt="1"/>
          </p:nvPr>
        </p:nvSpPr>
        <p:spPr>
          <a:xfrm>
            <a:off x="5147999" y="1989138"/>
            <a:ext cx="6356613" cy="4104158"/>
          </a:xfrm>
        </p:spPr>
        <p:txBody>
          <a:bodyPr/>
          <a:lstStyle>
            <a:lvl1pPr marL="126000" indent="-126000">
              <a:defRPr sz="1800"/>
            </a:lvl1pPr>
            <a:lvl2pPr marL="450000" indent="-108000">
              <a:defRPr sz="1600"/>
            </a:lvl2pPr>
            <a:lvl3pPr marL="810000" indent="-108000">
              <a:defRPr sz="1400"/>
            </a:lvl3pPr>
            <a:lvl4pPr marL="1152000" indent="-90000">
              <a:defRPr sz="1200"/>
            </a:lvl4pPr>
            <a:lvl5pPr marL="1512000" indent="-90000">
              <a:defRPr sz="1000"/>
            </a:lvl5pPr>
            <a:lvl6pPr marL="1872000">
              <a:defRPr sz="1000"/>
            </a:lvl6pPr>
            <a:lvl7pPr marL="2232000">
              <a:defRPr sz="1000"/>
            </a:lvl7pPr>
            <a:lvl8pPr marL="2592000">
              <a:defRPr/>
            </a:lvl8pPr>
            <a:lvl9pPr marL="2952000">
              <a:defRPr sz="1000"/>
            </a:lvl9pPr>
          </a:lstStyle>
          <a:p>
            <a:pPr lvl="0"/>
            <a:r>
              <a:rPr lang="da-DK" dirty="0"/>
              <a:t>Brødtekst 18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 niveau</a:t>
            </a:r>
          </a:p>
          <a:p>
            <a:pPr lvl="6"/>
            <a:r>
              <a:rPr lang="da-DK" dirty="0"/>
              <a:t>7 niveau</a:t>
            </a:r>
          </a:p>
          <a:p>
            <a:pPr lvl="7"/>
            <a:r>
              <a:rPr lang="da-DK" dirty="0"/>
              <a:t>8 niveau</a:t>
            </a:r>
          </a:p>
          <a:p>
            <a:pPr lvl="8"/>
            <a:r>
              <a:rPr lang="da-DK" dirty="0"/>
              <a:t>9 niveau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C2AF5AB9-1CB1-496F-9EC0-8AEA03F4AD6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920C77BC-0619-4B83-AE63-F3B07DBCC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ext" descr="{&quot;templafy&quot;:{&quot;id&quot;:&quot;4bfe733f-1894-4d64-91af-8de892e1456d&quot;}}" hidden="1" title="UserProfile.CenterFreeText">
            <a:extLst>
              <a:ext uri="{FF2B5EF4-FFF2-40B4-BE49-F238E27FC236}">
                <a16:creationId xmlns:a16="http://schemas.microsoft.com/office/drawing/2014/main" id="{4A81FBCC-2D00-40FA-A91D-C1C678FFE578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12" name="text" descr="{&quot;templafy&quot;:{&quot;id&quot;:&quot;7d3b08f7-7800-4f37-be1d-a17b15e2d5b0&quot;}}" title="Form.PresentationTitle">
            <a:extLst>
              <a:ext uri="{FF2B5EF4-FFF2-40B4-BE49-F238E27FC236}">
                <a16:creationId xmlns:a16="http://schemas.microsoft.com/office/drawing/2014/main" id="{27955C15-87DF-44D3-BB7F-46DF20BDC193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pic>
        <p:nvPicPr>
          <p:cNvPr id="187858736" name="image" descr="{&quot;templafy&quot;:{&quot;id&quot;:&quot;f4ca3820-4749-40d1-aad1-8f5a6abf7a8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26" name="text" descr="{&quot;templafy&quot;:{&quot;id&quot;:&quot;2f5b187c-d725-4bd1-9deb-73811f62cedb&quot;}}" title="UserProfile.Name">
            <a:extLst>
              <a:ext uri="{FF2B5EF4-FFF2-40B4-BE49-F238E27FC236}">
                <a16:creationId xmlns:a16="http://schemas.microsoft.com/office/drawing/2014/main" id="{91271CC7-CBC0-4401-960C-8A2FB37DB8CF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sp>
        <p:nvSpPr>
          <p:cNvPr id="27" name="text" descr="{&quot;templafy&quot;:{&quot;id&quot;:&quot;3e1cbbf7-4fe5-4f06-9f76-8cc2f4cb0612&quot;}}" hidden="1" title="Form.Manuel_dato">
            <a:extLst>
              <a:ext uri="{FF2B5EF4-FFF2-40B4-BE49-F238E27FC236}">
                <a16:creationId xmlns:a16="http://schemas.microsoft.com/office/drawing/2014/main" id="{EF71415C-C868-4AF0-9233-D343B0457C65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sp>
        <p:nvSpPr>
          <p:cNvPr id="13" name="Pladsholder til diasnummer 5">
            <a:extLst>
              <a:ext uri="{FF2B5EF4-FFF2-40B4-BE49-F238E27FC236}">
                <a16:creationId xmlns:a16="http://schemas.microsoft.com/office/drawing/2014/main" id="{1BD301D4-B1F3-4E2B-80B8-84716EBD7E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8" name="Billede 17" descr="Et billede, der indeholder tekst&#10;&#10;Automatisk genereret beskrivelse">
            <a:extLst>
              <a:ext uri="{FF2B5EF4-FFF2-40B4-BE49-F238E27FC236}">
                <a16:creationId xmlns:a16="http://schemas.microsoft.com/office/drawing/2014/main" id="{49F82D20-A24B-4ED3-9DC1-FA6201389A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22659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2A81C073-453A-442E-AB33-B3AAFBCE3378}"/>
              </a:ext>
            </a:extLst>
          </p:cNvPr>
          <p:cNvSpPr txBox="1">
            <a:spLocks/>
          </p:cNvSpPr>
          <p:nvPr userDrawn="1"/>
        </p:nvSpPr>
        <p:spPr>
          <a:xfrm>
            <a:off x="1367391" y="872716"/>
            <a:ext cx="10137524" cy="82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rgbClr val="1F4A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rgbClr val="1F4A60"/>
                </a:solidFill>
              </a:rPr>
              <a:t>Overskrift 28pt i max. to linjer </a:t>
            </a:r>
            <a:br>
              <a:rPr lang="da-DK" dirty="0">
                <a:solidFill>
                  <a:srgbClr val="1F4A60"/>
                </a:solidFill>
              </a:rPr>
            </a:br>
            <a:r>
              <a:rPr lang="da-DK" dirty="0">
                <a:solidFill>
                  <a:srgbClr val="1F4A60"/>
                </a:solidFill>
              </a:rPr>
              <a:t>teksten vokser opad</a:t>
            </a:r>
          </a:p>
        </p:txBody>
      </p:sp>
      <p:sp>
        <p:nvSpPr>
          <p:cNvPr id="20" name="Pladsholder til indhold 2">
            <a:extLst>
              <a:ext uri="{FF2B5EF4-FFF2-40B4-BE49-F238E27FC236}">
                <a16:creationId xmlns:a16="http://schemas.microsoft.com/office/drawing/2014/main" id="{56CBBFB9-5DF3-4D51-9DD2-8C662362C03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367999" y="1989138"/>
            <a:ext cx="10136614" cy="3996145"/>
          </a:xfrm>
        </p:spPr>
        <p:txBody>
          <a:bodyPr/>
          <a:lstStyle>
            <a:lvl1pPr marL="270000" indent="-270000">
              <a:defRPr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/>
            </a:lvl4pPr>
            <a:lvl5pPr marL="1656000" indent="-216000">
              <a:defRPr/>
            </a:lvl5pPr>
            <a:lvl6pPr marL="1998000" indent="-180000">
              <a:defRPr/>
            </a:lvl6pPr>
            <a:lvl7pPr marL="2358000" indent="-180000">
              <a:defRPr/>
            </a:lvl7pPr>
            <a:lvl8pPr marL="2718000" indent="-180000">
              <a:defRPr/>
            </a:lvl8pPr>
            <a:lvl9pPr marL="2718000" indent="-180000">
              <a:defRPr sz="1000"/>
            </a:lvl9pPr>
          </a:lstStyle>
          <a:p>
            <a:pPr lvl="0"/>
            <a:r>
              <a:rPr lang="da-DK" dirty="0"/>
              <a:t>Brødtekst 22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sp>
        <p:nvSpPr>
          <p:cNvPr id="24" name="Hvid dæk boks">
            <a:extLst>
              <a:ext uri="{FF2B5EF4-FFF2-40B4-BE49-F238E27FC236}">
                <a16:creationId xmlns:a16="http://schemas.microsoft.com/office/drawing/2014/main" id="{BE699CE1-E7E4-4383-BF65-18BBB39E3EA3}"/>
              </a:ext>
            </a:extLst>
          </p:cNvPr>
          <p:cNvSpPr/>
          <p:nvPr userDrawn="1"/>
        </p:nvSpPr>
        <p:spPr>
          <a:xfrm>
            <a:off x="1" y="0"/>
            <a:ext cx="12199488" cy="6858000"/>
          </a:xfrm>
          <a:prstGeom prst="rect">
            <a:avLst/>
          </a:prstGeom>
          <a:solidFill>
            <a:srgbClr val="1F4A60">
              <a:alpha val="2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pic>
        <p:nvPicPr>
          <p:cNvPr id="25" name="Billede 24" descr="Et billede, der indeholder tekst&#10;&#10;Automatisk genereret beskrivelse">
            <a:extLst>
              <a:ext uri="{FF2B5EF4-FFF2-40B4-BE49-F238E27FC236}">
                <a16:creationId xmlns:a16="http://schemas.microsoft.com/office/drawing/2014/main" id="{97DA42F0-4BB9-402E-88D8-366784AD08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31894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3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  <p:sp>
        <p:nvSpPr>
          <p:cNvPr id="18" name="Pladsholder til indhold 2">
            <a:extLst>
              <a:ext uri="{FF2B5EF4-FFF2-40B4-BE49-F238E27FC236}">
                <a16:creationId xmlns:a16="http://schemas.microsoft.com/office/drawing/2014/main" id="{AE8B615A-4374-4B91-A191-D1DBD7C8C0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781924" y="2006069"/>
            <a:ext cx="4146723" cy="3831675"/>
          </a:xfrm>
        </p:spPr>
        <p:txBody>
          <a:bodyPr/>
          <a:lstStyle>
            <a:lvl1pPr marL="270000" indent="-270000">
              <a:defRPr baseline="0"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>
                <a:solidFill>
                  <a:srgbClr val="1F4A60"/>
                </a:solidFill>
              </a:defRPr>
            </a:lvl4pPr>
            <a:lvl5pPr marL="1656000" indent="-216000">
              <a:defRPr>
                <a:solidFill>
                  <a:srgbClr val="1F4A60"/>
                </a:solidFill>
              </a:defRPr>
            </a:lvl5pPr>
            <a:lvl6pPr marL="1998000" indent="-180000">
              <a:defRPr>
                <a:solidFill>
                  <a:srgbClr val="1F4A60"/>
                </a:solidFill>
              </a:defRPr>
            </a:lvl6pPr>
            <a:lvl7pPr marL="2358000" indent="-180000">
              <a:defRPr>
                <a:solidFill>
                  <a:srgbClr val="1F4A60"/>
                </a:solidFill>
              </a:defRPr>
            </a:lvl7pPr>
            <a:lvl8pPr marL="2718000" indent="-180000">
              <a:defRPr>
                <a:solidFill>
                  <a:srgbClr val="1F4A60"/>
                </a:solidFill>
              </a:defRPr>
            </a:lvl8pPr>
            <a:lvl9pPr marL="2538000" indent="0">
              <a:buNone/>
              <a:defRPr sz="1000">
                <a:solidFill>
                  <a:srgbClr val="1F4A60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</p:spTree>
    <p:extLst>
      <p:ext uri="{BB962C8B-B14F-4D97-AF65-F5344CB8AC3E}">
        <p14:creationId xmlns:p14="http://schemas.microsoft.com/office/powerpoint/2010/main" val="427704311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  <p:sp>
        <p:nvSpPr>
          <p:cNvPr id="18" name="Pladsholder til indhold 2">
            <a:extLst>
              <a:ext uri="{FF2B5EF4-FFF2-40B4-BE49-F238E27FC236}">
                <a16:creationId xmlns:a16="http://schemas.microsoft.com/office/drawing/2014/main" id="{AE8B615A-4374-4B91-A191-D1DBD7C8C0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781924" y="2006069"/>
            <a:ext cx="4146723" cy="3831675"/>
          </a:xfrm>
        </p:spPr>
        <p:txBody>
          <a:bodyPr/>
          <a:lstStyle>
            <a:lvl1pPr marL="270000" indent="-270000">
              <a:defRPr baseline="0"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>
                <a:solidFill>
                  <a:srgbClr val="1F4A60"/>
                </a:solidFill>
              </a:defRPr>
            </a:lvl4pPr>
            <a:lvl5pPr marL="1656000" indent="-216000">
              <a:defRPr>
                <a:solidFill>
                  <a:srgbClr val="1F4A60"/>
                </a:solidFill>
              </a:defRPr>
            </a:lvl5pPr>
            <a:lvl6pPr marL="1998000" indent="-180000">
              <a:defRPr>
                <a:solidFill>
                  <a:srgbClr val="1F4A60"/>
                </a:solidFill>
              </a:defRPr>
            </a:lvl6pPr>
            <a:lvl7pPr marL="2358000" indent="-180000">
              <a:defRPr>
                <a:solidFill>
                  <a:srgbClr val="1F4A60"/>
                </a:solidFill>
              </a:defRPr>
            </a:lvl7pPr>
            <a:lvl8pPr marL="2718000" indent="-180000">
              <a:defRPr>
                <a:solidFill>
                  <a:srgbClr val="1F4A60"/>
                </a:solidFill>
              </a:defRPr>
            </a:lvl8pPr>
            <a:lvl9pPr marL="2538000" indent="0">
              <a:buNone/>
              <a:defRPr sz="1000">
                <a:solidFill>
                  <a:srgbClr val="1F4A60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</p:spTree>
    <p:extLst>
      <p:ext uri="{BB962C8B-B14F-4D97-AF65-F5344CB8AC3E}">
        <p14:creationId xmlns:p14="http://schemas.microsoft.com/office/powerpoint/2010/main" val="278613425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  <p:sp>
        <p:nvSpPr>
          <p:cNvPr id="18" name="Pladsholder til indhold 2">
            <a:extLst>
              <a:ext uri="{FF2B5EF4-FFF2-40B4-BE49-F238E27FC236}">
                <a16:creationId xmlns:a16="http://schemas.microsoft.com/office/drawing/2014/main" id="{AE8B615A-4374-4B91-A191-D1DBD7C8C0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781924" y="2006069"/>
            <a:ext cx="4146723" cy="3831675"/>
          </a:xfrm>
        </p:spPr>
        <p:txBody>
          <a:bodyPr/>
          <a:lstStyle>
            <a:lvl1pPr marL="270000" indent="-270000">
              <a:defRPr baseline="0"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>
                <a:solidFill>
                  <a:srgbClr val="1F4A60"/>
                </a:solidFill>
              </a:defRPr>
            </a:lvl4pPr>
            <a:lvl5pPr marL="1656000" indent="-216000">
              <a:defRPr>
                <a:solidFill>
                  <a:srgbClr val="1F4A60"/>
                </a:solidFill>
              </a:defRPr>
            </a:lvl5pPr>
            <a:lvl6pPr marL="1998000" indent="-180000">
              <a:defRPr>
                <a:solidFill>
                  <a:srgbClr val="1F4A60"/>
                </a:solidFill>
              </a:defRPr>
            </a:lvl6pPr>
            <a:lvl7pPr marL="2358000" indent="-180000">
              <a:defRPr>
                <a:solidFill>
                  <a:srgbClr val="1F4A60"/>
                </a:solidFill>
              </a:defRPr>
            </a:lvl7pPr>
            <a:lvl8pPr marL="2718000" indent="-180000">
              <a:defRPr>
                <a:solidFill>
                  <a:srgbClr val="1F4A60"/>
                </a:solidFill>
              </a:defRPr>
            </a:lvl8pPr>
            <a:lvl9pPr marL="2538000" indent="0">
              <a:buNone/>
              <a:defRPr sz="1000">
                <a:solidFill>
                  <a:srgbClr val="1F4A60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</p:spTree>
    <p:extLst>
      <p:ext uri="{BB962C8B-B14F-4D97-AF65-F5344CB8AC3E}">
        <p14:creationId xmlns:p14="http://schemas.microsoft.com/office/powerpoint/2010/main" val="17004455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  <p:sp>
        <p:nvSpPr>
          <p:cNvPr id="18" name="Pladsholder til indhold 2">
            <a:extLst>
              <a:ext uri="{FF2B5EF4-FFF2-40B4-BE49-F238E27FC236}">
                <a16:creationId xmlns:a16="http://schemas.microsoft.com/office/drawing/2014/main" id="{AE8B615A-4374-4B91-A191-D1DBD7C8C0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781924" y="2006069"/>
            <a:ext cx="4146723" cy="3831675"/>
          </a:xfrm>
        </p:spPr>
        <p:txBody>
          <a:bodyPr/>
          <a:lstStyle>
            <a:lvl1pPr marL="270000" indent="-270000">
              <a:defRPr baseline="0"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>
                <a:solidFill>
                  <a:srgbClr val="1F4A60"/>
                </a:solidFill>
              </a:defRPr>
            </a:lvl4pPr>
            <a:lvl5pPr marL="1656000" indent="-216000">
              <a:defRPr>
                <a:solidFill>
                  <a:srgbClr val="1F4A60"/>
                </a:solidFill>
              </a:defRPr>
            </a:lvl5pPr>
            <a:lvl6pPr marL="1998000" indent="-180000">
              <a:defRPr>
                <a:solidFill>
                  <a:srgbClr val="1F4A60"/>
                </a:solidFill>
              </a:defRPr>
            </a:lvl6pPr>
            <a:lvl7pPr marL="2358000" indent="-180000">
              <a:defRPr>
                <a:solidFill>
                  <a:srgbClr val="1F4A60"/>
                </a:solidFill>
              </a:defRPr>
            </a:lvl7pPr>
            <a:lvl8pPr marL="2718000" indent="-180000">
              <a:defRPr>
                <a:solidFill>
                  <a:srgbClr val="1F4A60"/>
                </a:solidFill>
              </a:defRPr>
            </a:lvl8pPr>
            <a:lvl9pPr marL="2538000" indent="0">
              <a:buNone/>
              <a:defRPr sz="1000">
                <a:solidFill>
                  <a:srgbClr val="1F4A60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</p:spTree>
    <p:extLst>
      <p:ext uri="{BB962C8B-B14F-4D97-AF65-F5344CB8AC3E}">
        <p14:creationId xmlns:p14="http://schemas.microsoft.com/office/powerpoint/2010/main" val="14831717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6100" y="1960079"/>
            <a:ext cx="10222987" cy="3937484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-1974112" y="340162"/>
            <a:ext cx="1826368" cy="4615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Overskrift to</a:t>
            </a:r>
            <a:r>
              <a:rPr lang="en-GB" sz="998" baseline="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 linjer </a:t>
            </a:r>
            <a:endParaRPr lang="en-GB" sz="4791"/>
          </a:p>
          <a:p>
            <a:pPr algn="r">
              <a:lnSpc>
                <a:spcPct val="100000"/>
              </a:lnSpc>
            </a:pPr>
            <a:r>
              <a:rPr lang="en-GB" sz="998" baseline="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ændr 2. linje til</a:t>
            </a:r>
            <a:endParaRPr lang="en-GB" sz="4791"/>
          </a:p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AU Passata Bold</a:t>
            </a:r>
            <a:endParaRPr lang="en-GB" sz="4791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304666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3" name="Pladsholder til billede 2">
            <a:extLst>
              <a:ext uri="{FF2B5EF4-FFF2-40B4-BE49-F238E27FC236}">
                <a16:creationId xmlns:a16="http://schemas.microsoft.com/office/drawing/2014/main" id="{E4E17A79-F37E-41DA-B54E-BEA03CB50E1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468271" y="0"/>
            <a:ext cx="4723729" cy="6858000"/>
          </a:xfrm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accent6"/>
                </a:solidFill>
              </a:defRPr>
            </a:lvl1pPr>
          </a:lstStyle>
          <a:p>
            <a:r>
              <a:rPr lang="da-DK" dirty="0"/>
              <a:t>Klik på ikon for at indsætte billede</a:t>
            </a:r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44456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dt billed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dsholder til billede 2">
            <a:extLst>
              <a:ext uri="{FF2B5EF4-FFF2-40B4-BE49-F238E27FC236}">
                <a16:creationId xmlns:a16="http://schemas.microsoft.com/office/drawing/2014/main" id="{C870A587-0A3A-42CA-9458-234900FF9E4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1"/>
            <a:ext cx="7468270" cy="6858000"/>
          </a:xfrm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accent6"/>
                </a:solidFill>
              </a:defRPr>
            </a:lvl1pPr>
          </a:lstStyle>
          <a:p>
            <a:r>
              <a:rPr lang="da-DK" dirty="0"/>
              <a:t>Klik på ikon for at indsætte billede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1ADD90D0-F6A3-4F85-A196-6E7F39CAA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84A09467-3A38-402F-9ED6-D89FA586B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3" name="Billede 12" descr="Et billede, der indeholder tekst&#10;&#10;Automatisk genereret beskrivelse">
            <a:extLst>
              <a:ext uri="{FF2B5EF4-FFF2-40B4-BE49-F238E27FC236}">
                <a16:creationId xmlns:a16="http://schemas.microsoft.com/office/drawing/2014/main" id="{2AC27FB6-1C90-4BD0-B5D7-007EE3A66C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00837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ast overskrift"/>
          <p:cNvSpPr txBox="1"/>
          <p:nvPr userDrawn="1"/>
        </p:nvSpPr>
        <p:spPr>
          <a:xfrm>
            <a:off x="539748" y="539751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6" name="Text Box 2">
            <a:extLst>
              <a:ext uri="{FF2B5EF4-FFF2-40B4-BE49-F238E27FC236}">
                <a16:creationId xmlns:a16="http://schemas.microsoft.com/office/drawing/2014/main" id="{9ED1F91D-CAD7-4803-B48E-26A1E9D134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58800" y="1479519"/>
            <a:ext cx="2280360" cy="38472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9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9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9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Ændre slide layouts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pilen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ed siden af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få vist en dropdown menu af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ige slides layout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dit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værende layout til et alternativt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</a:t>
            </a: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1 Forøg formindsk">
            <a:extLst>
              <a:ext uri="{FF2B5EF4-FFF2-40B4-BE49-F238E27FC236}">
                <a16:creationId xmlns:a16="http://schemas.microsoft.com/office/drawing/2014/main" id="{C1320887-C283-44C4-A258-0F4F30AB9B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19597" y="2564168"/>
            <a:ext cx="549328" cy="285228"/>
          </a:xfrm>
          <a:prstGeom prst="rect">
            <a:avLst/>
          </a:prstGeom>
        </p:spPr>
      </p:pic>
      <p:pic>
        <p:nvPicPr>
          <p:cNvPr id="20" name="3 Layout">
            <a:extLst>
              <a:ext uri="{FF2B5EF4-FFF2-40B4-BE49-F238E27FC236}">
                <a16:creationId xmlns:a16="http://schemas.microsoft.com/office/drawing/2014/main" id="{65C4A96F-1A4B-422A-A364-36A11A350F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6944" r="2272" b="69429"/>
          <a:stretch/>
        </p:blipFill>
        <p:spPr>
          <a:xfrm>
            <a:off x="2748981" y="3277001"/>
            <a:ext cx="593368" cy="192211"/>
          </a:xfrm>
          <a:prstGeom prst="rect">
            <a:avLst/>
          </a:prstGeom>
        </p:spPr>
      </p:pic>
      <p:pic>
        <p:nvPicPr>
          <p:cNvPr id="21" name="4 Nulstil">
            <a:extLst>
              <a:ext uri="{FF2B5EF4-FFF2-40B4-BE49-F238E27FC236}">
                <a16:creationId xmlns:a16="http://schemas.microsoft.com/office/drawing/2014/main" id="{B4442F1F-206C-4948-A2CE-402C8A7844F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48981" y="4655118"/>
            <a:ext cx="547241" cy="197798"/>
          </a:xfrm>
          <a:prstGeom prst="rect">
            <a:avLst/>
          </a:prstGeom>
        </p:spPr>
      </p:pic>
      <p:sp>
        <p:nvSpPr>
          <p:cNvPr id="22" name="Text Box 3">
            <a:extLst>
              <a:ext uri="{FF2B5EF4-FFF2-40B4-BE49-F238E27FC236}">
                <a16:creationId xmlns:a16="http://schemas.microsoft.com/office/drawing/2014/main" id="{AC472DCD-3E25-4024-9053-0797118E219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1331" y="1479519"/>
            <a:ext cx="2160798" cy="449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 eller hvilken som helst anden pladsholder, klik på pladsholderens kant. TIP: Hold Shift nede og klik på pladsholderen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 Indsæt firma billede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Klik på den bl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fy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I drop ned menuen, vælg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da-DK" altLang="da-DK" sz="900" b="0" i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 Templafy vinduet i højre side af skærmen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 Browse efter andre billed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Tools-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appen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 findes under firma fanen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browse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ter et billede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. Indsæt et kopieret billede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Tools-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appen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 findes under firma fanen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te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indsætte det kopierede billede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1F9AF259-CD67-4F52-9A1F-EC718D03CD3D}"/>
              </a:ext>
            </a:extLst>
          </p:cNvPr>
          <p:cNvGrpSpPr/>
          <p:nvPr userDrawn="1"/>
        </p:nvGrpSpPr>
        <p:grpSpPr>
          <a:xfrm>
            <a:off x="6241457" y="3341699"/>
            <a:ext cx="740398" cy="934814"/>
            <a:chOff x="6398620" y="3815586"/>
            <a:chExt cx="740398" cy="934814"/>
          </a:xfrm>
        </p:grpSpPr>
        <p:pic>
          <p:nvPicPr>
            <p:cNvPr id="24" name="6 Crop">
              <a:extLst>
                <a:ext uri="{FF2B5EF4-FFF2-40B4-BE49-F238E27FC236}">
                  <a16:creationId xmlns:a16="http://schemas.microsoft.com/office/drawing/2014/main" id="{9CB1AB9A-B60D-4B1E-9CBF-74CFC0E384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398620" y="3815586"/>
              <a:ext cx="337400" cy="321707"/>
            </a:xfrm>
            <a:prstGeom prst="rect">
              <a:avLst/>
            </a:prstGeom>
          </p:spPr>
        </p:pic>
        <p:pic>
          <p:nvPicPr>
            <p:cNvPr id="25" name="Billede 24">
              <a:extLst>
                <a:ext uri="{FF2B5EF4-FFF2-40B4-BE49-F238E27FC236}">
                  <a16:creationId xmlns:a16="http://schemas.microsoft.com/office/drawing/2014/main" id="{85D034CD-5AB5-4128-B1ED-C46433151D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1304" t="11451" r="30180" b="26335"/>
            <a:stretch/>
          </p:blipFill>
          <p:spPr>
            <a:xfrm>
              <a:off x="6442770" y="4118189"/>
              <a:ext cx="696248" cy="632211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28" name="Gruppe 27">
            <a:extLst>
              <a:ext uri="{FF2B5EF4-FFF2-40B4-BE49-F238E27FC236}">
                <a16:creationId xmlns:a16="http://schemas.microsoft.com/office/drawing/2014/main" id="{6E0524AF-02C9-42C0-A17F-A5980D805B44}"/>
              </a:ext>
            </a:extLst>
          </p:cNvPr>
          <p:cNvGrpSpPr/>
          <p:nvPr userDrawn="1"/>
        </p:nvGrpSpPr>
        <p:grpSpPr>
          <a:xfrm>
            <a:off x="6234489" y="4380694"/>
            <a:ext cx="740397" cy="929593"/>
            <a:chOff x="6391652" y="4854581"/>
            <a:chExt cx="740397" cy="929593"/>
          </a:xfrm>
        </p:grpSpPr>
        <p:pic>
          <p:nvPicPr>
            <p:cNvPr id="29" name="6 Crop">
              <a:extLst>
                <a:ext uri="{FF2B5EF4-FFF2-40B4-BE49-F238E27FC236}">
                  <a16:creationId xmlns:a16="http://schemas.microsoft.com/office/drawing/2014/main" id="{9F98BB02-E51F-4746-B69E-9C711482649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391652" y="4854581"/>
              <a:ext cx="337400" cy="321707"/>
            </a:xfrm>
            <a:prstGeom prst="rect">
              <a:avLst/>
            </a:prstGeom>
          </p:spPr>
        </p:pic>
        <p:pic>
          <p:nvPicPr>
            <p:cNvPr id="36" name="Billede 35">
              <a:extLst>
                <a:ext uri="{FF2B5EF4-FFF2-40B4-BE49-F238E27FC236}">
                  <a16:creationId xmlns:a16="http://schemas.microsoft.com/office/drawing/2014/main" id="{F03B3F55-2CD4-4955-87F4-7332ABF9C31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l="1152" t="11676" r="31017" b="26411"/>
            <a:stretch/>
          </p:blipFill>
          <p:spPr>
            <a:xfrm>
              <a:off x="6442770" y="5155024"/>
              <a:ext cx="689279" cy="629150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37" name="Gruppe 36">
            <a:extLst>
              <a:ext uri="{FF2B5EF4-FFF2-40B4-BE49-F238E27FC236}">
                <a16:creationId xmlns:a16="http://schemas.microsoft.com/office/drawing/2014/main" id="{570C9D30-5E46-4A8F-8AF8-0A3A35FF4070}"/>
              </a:ext>
            </a:extLst>
          </p:cNvPr>
          <p:cNvGrpSpPr/>
          <p:nvPr userDrawn="1"/>
        </p:nvGrpSpPr>
        <p:grpSpPr>
          <a:xfrm>
            <a:off x="6285608" y="2237665"/>
            <a:ext cx="676669" cy="997704"/>
            <a:chOff x="6442771" y="2574072"/>
            <a:chExt cx="676669" cy="997704"/>
          </a:xfrm>
        </p:grpSpPr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6459B022-C4F9-472E-A75D-684BCC545A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9" name="Billede 38">
              <a:extLst>
                <a:ext uri="{FF2B5EF4-FFF2-40B4-BE49-F238E27FC236}">
                  <a16:creationId xmlns:a16="http://schemas.microsoft.com/office/drawing/2014/main" id="{6676C55A-9D05-4855-A873-5DA79C75422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0" name="Text Box 3">
            <a:extLst>
              <a:ext uri="{FF2B5EF4-FFF2-40B4-BE49-F238E27FC236}">
                <a16:creationId xmlns:a16="http://schemas.microsoft.com/office/drawing/2014/main" id="{3D524C37-9B03-4C43-9C67-F15B8611C77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82683" y="1479519"/>
            <a:ext cx="2566254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indsætte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nyt, kan billedet lægge sig foran tekst og grafik. Hvis dette sker, højreklik på billedet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å det slår igennem på alle slides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o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ekst kommer fra Templafy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</a:t>
            </a:r>
          </a:p>
        </p:txBody>
      </p:sp>
      <p:pic>
        <p:nvPicPr>
          <p:cNvPr id="41" name="6 Beskær">
            <a:extLst>
              <a:ext uri="{FF2B5EF4-FFF2-40B4-BE49-F238E27FC236}">
                <a16:creationId xmlns:a16="http://schemas.microsoft.com/office/drawing/2014/main" id="{6D747865-747C-4723-A63A-8AA2425D45D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085312" y="1658669"/>
            <a:ext cx="337400" cy="321707"/>
          </a:xfrm>
          <a:prstGeom prst="rect">
            <a:avLst/>
          </a:prstGeom>
        </p:spPr>
      </p:pic>
      <p:pic>
        <p:nvPicPr>
          <p:cNvPr id="42" name="7 Skalér billede">
            <a:extLst>
              <a:ext uri="{FF2B5EF4-FFF2-40B4-BE49-F238E27FC236}">
                <a16:creationId xmlns:a16="http://schemas.microsoft.com/office/drawing/2014/main" id="{5183FB2B-6E9E-41FC-88C0-479135A148CA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085312" y="2019309"/>
            <a:ext cx="359695" cy="335309"/>
          </a:xfrm>
          <a:prstGeom prst="rect">
            <a:avLst/>
          </a:prstGeom>
        </p:spPr>
      </p:pic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F5A184B9-90D9-4973-987E-71621E0A29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D015F341-CDF3-4F74-8F12-0BEE09574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8D0652-AB80-46FC-A21E-38F4C38953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2062011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lede 17">
            <a:extLst>
              <a:ext uri="{FF2B5EF4-FFF2-40B4-BE49-F238E27FC236}">
                <a16:creationId xmlns:a16="http://schemas.microsoft.com/office/drawing/2014/main" id="{0FADFA77-4294-4494-B9BA-9EA84CBE16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943871" y="3152939"/>
            <a:ext cx="6624737" cy="1356181"/>
          </a:xfrm>
        </p:spPr>
        <p:txBody>
          <a:bodyPr anchor="t" anchorCtr="0"/>
          <a:lstStyle>
            <a:lvl1pPr>
              <a:defRPr sz="3600">
                <a:solidFill>
                  <a:srgbClr val="5C818B"/>
                </a:solidFill>
              </a:defRPr>
            </a:lvl1pPr>
          </a:lstStyle>
          <a:p>
            <a:r>
              <a:rPr lang="da-DK" dirty="0"/>
              <a:t>Overskrift 36 pt skrives her i to eller flere linjer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941319" y="4797152"/>
            <a:ext cx="6624737" cy="888504"/>
          </a:xfrm>
        </p:spPr>
        <p:txBody>
          <a:bodyPr/>
          <a:lstStyle>
            <a:lvl1pPr marL="0" indent="0" algn="l">
              <a:lnSpc>
                <a:spcPct val="89000"/>
              </a:lnSpc>
              <a:buNone/>
              <a:defRPr sz="2000" baseline="0">
                <a:solidFill>
                  <a:srgbClr val="5C818B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Underoverskrift 20pt skrives her i to linjer eller max tre linjer</a:t>
            </a:r>
          </a:p>
        </p:txBody>
      </p:sp>
      <p:sp>
        <p:nvSpPr>
          <p:cNvPr id="17" name="text" descr="{&quot;templafy&quot;:{&quot;id&quot;:&quot;5a24f27e-a91f-40e4-9a57-11bca2912093&quot;}}" title="Form.PresentationTitle">
            <a:extLst>
              <a:ext uri="{FF2B5EF4-FFF2-40B4-BE49-F238E27FC236}">
                <a16:creationId xmlns:a16="http://schemas.microsoft.com/office/drawing/2014/main" id="{6E96F3D6-F9A3-4A0A-AF11-9947015BA81A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19" name="text" descr="{&quot;templafy&quot;:{&quot;id&quot;:&quot;27f04b40-1f52-4ad2-8673-19146f74321f&quot;}}" title="UserProfile.Name">
            <a:extLst>
              <a:ext uri="{FF2B5EF4-FFF2-40B4-BE49-F238E27FC236}">
                <a16:creationId xmlns:a16="http://schemas.microsoft.com/office/drawing/2014/main" id="{443C3F1B-6F22-44FD-9D20-8046FEEFD6D9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DB375924-8F1B-4A42-B386-30D658A1EE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40073283-4609-4E3F-B89A-30DFFAA2EA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57804933" name="image" descr="{&quot;templafy&quot;:{&quot;id&quot;:&quot;5a4e4ddd-03a0-48ad-86fc-790885a0b952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29" name="text" descr="{&quot;templafy&quot;:{&quot;id&quot;:&quot;8cc16c53-fb3f-4121-a465-a2a0d08efebd&quot;}}" hidden="1" title="UserProfile.CenterFreeText">
            <a:extLst>
              <a:ext uri="{FF2B5EF4-FFF2-40B4-BE49-F238E27FC236}">
                <a16:creationId xmlns:a16="http://schemas.microsoft.com/office/drawing/2014/main" id="{5A30AC9F-7EFA-48B4-8857-325A6FCD653B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31" name="text" descr="{&quot;templafy&quot;:{&quot;id&quot;:&quot;0ca78db9-1f34-4a6a-b3d5-428e8457d8fb&quot;}}" hidden="1" title="Form.Manuel_dato">
            <a:extLst>
              <a:ext uri="{FF2B5EF4-FFF2-40B4-BE49-F238E27FC236}">
                <a16:creationId xmlns:a16="http://schemas.microsoft.com/office/drawing/2014/main" id="{85898D87-959A-4A63-81D8-7ADE604F6901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2098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Èn tekst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1367391" y="872716"/>
            <a:ext cx="10137524" cy="828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Overskrift 28pt i max. to linjer </a:t>
            </a:r>
            <a:br>
              <a:rPr lang="da-DK" dirty="0"/>
            </a:br>
            <a:r>
              <a:rPr lang="da-DK" dirty="0"/>
              <a:t>teksten vokser opad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 hasCustomPrompt="1"/>
          </p:nvPr>
        </p:nvSpPr>
        <p:spPr>
          <a:xfrm>
            <a:off x="1367999" y="1989138"/>
            <a:ext cx="10136614" cy="3996145"/>
          </a:xfrm>
        </p:spPr>
        <p:txBody>
          <a:bodyPr/>
          <a:lstStyle>
            <a:lvl1pPr marL="270000" indent="-270000">
              <a:defRPr/>
            </a:lvl1pPr>
            <a:lvl2pPr marL="630000" indent="-270000">
              <a:defRPr/>
            </a:lvl2pPr>
            <a:lvl3pPr marL="936000" indent="-234000">
              <a:defRPr/>
            </a:lvl3pPr>
            <a:lvl4pPr marL="1296000" indent="-216000">
              <a:defRPr/>
            </a:lvl4pPr>
            <a:lvl5pPr marL="1656000" indent="-216000">
              <a:defRPr/>
            </a:lvl5pPr>
            <a:lvl6pPr marL="1998000" indent="-180000">
              <a:defRPr/>
            </a:lvl6pPr>
            <a:lvl7pPr marL="2358000" indent="-180000">
              <a:defRPr/>
            </a:lvl7pPr>
            <a:lvl8pPr marL="2718000" indent="-180000">
              <a:defRPr/>
            </a:lvl8pPr>
            <a:lvl9pPr marL="2718000" indent="-180000">
              <a:defRPr sz="1000"/>
            </a:lvl9pPr>
          </a:lstStyle>
          <a:p>
            <a:pPr lvl="0"/>
            <a:r>
              <a:rPr lang="da-DK" dirty="0"/>
              <a:t>Brødtekst 22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sp>
        <p:nvSpPr>
          <p:cNvPr id="7" name="text" descr="{&quot;templafy&quot;:{&quot;id&quot;:&quot;e45bdb66-735d-47e2-a0dd-234e7837c26f&quot;}}" hidden="1" title="UserProfile.CenterFreeText">
            <a:extLst>
              <a:ext uri="{FF2B5EF4-FFF2-40B4-BE49-F238E27FC236}">
                <a16:creationId xmlns:a16="http://schemas.microsoft.com/office/drawing/2014/main" id="{E53FC353-2F0F-4922-821A-1A51D53892CD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9" name="text" descr="{&quot;templafy&quot;:{&quot;id&quot;:&quot;4dda4036-98b2-42a4-a2c2-93edfa66ef6d&quot;}}" title="Form.PresentationTitle">
            <a:extLst>
              <a:ext uri="{FF2B5EF4-FFF2-40B4-BE49-F238E27FC236}">
                <a16:creationId xmlns:a16="http://schemas.microsoft.com/office/drawing/2014/main" id="{53BDA2D0-B22F-42B1-A4C9-3F000756EB91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pic>
        <p:nvPicPr>
          <p:cNvPr id="1123864823" name="image" descr="{&quot;templafy&quot;:{&quot;id&quot;:&quot;fd6fe772-42fe-4deb-970d-ff910f24d29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22" name="text" descr="{&quot;templafy&quot;:{&quot;id&quot;:&quot;e3aec226-ce87-4f1e-9730-49c43d4887b8&quot;}}" title="UserProfile.Name">
            <a:extLst>
              <a:ext uri="{FF2B5EF4-FFF2-40B4-BE49-F238E27FC236}">
                <a16:creationId xmlns:a16="http://schemas.microsoft.com/office/drawing/2014/main" id="{2436B9E0-97E8-428C-B474-A1B8FBC4D037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sp>
        <p:nvSpPr>
          <p:cNvPr id="23" name="text" descr="{&quot;templafy&quot;:{&quot;id&quot;:&quot;578e9232-c971-4db3-9317-b0ca24de66d0&quot;}}" hidden="1" title="Form.Manuel_dato">
            <a:extLst>
              <a:ext uri="{FF2B5EF4-FFF2-40B4-BE49-F238E27FC236}">
                <a16:creationId xmlns:a16="http://schemas.microsoft.com/office/drawing/2014/main" id="{D852104B-31C3-45BB-B8A2-2EFD81BDA39E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pic>
        <p:nvPicPr>
          <p:cNvPr id="1500417958" name="image" descr="{&quot;templafy&quot;:{&quot;id&quot;:&quot;849d8d41-4ac2-45dd-8ba1-0e79b8c5810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7600" y="97200"/>
            <a:ext cx="2178000" cy="684000"/>
          </a:xfrm>
          <a:prstGeom prst="rect">
            <a:avLst/>
          </a:prstGeom>
        </p:spPr>
      </p:pic>
      <p:pic>
        <p:nvPicPr>
          <p:cNvPr id="4" name="Billede 3" descr="Et billede, der indeholder tekst&#10;&#10;Automatisk genereret beskrivelse">
            <a:extLst>
              <a:ext uri="{FF2B5EF4-FFF2-40B4-BE49-F238E27FC236}">
                <a16:creationId xmlns:a16="http://schemas.microsoft.com/office/drawing/2014/main" id="{AB4F20AF-CBD4-433C-B202-AC922799AA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27149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illede og 2/3 tekst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F414A781-E1EA-496D-8900-B19CC30039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Overskrift 28pt i max. to linjer </a:t>
            </a:r>
            <a:br>
              <a:rPr lang="da-DK" dirty="0"/>
            </a:br>
            <a:r>
              <a:rPr lang="da-DK" dirty="0"/>
              <a:t>teksten vokser opad</a:t>
            </a:r>
            <a:endParaRPr lang="en-GB" dirty="0"/>
          </a:p>
        </p:txBody>
      </p:sp>
      <p:sp>
        <p:nvSpPr>
          <p:cNvPr id="25" name="Pladsholder til billede 2"/>
          <p:cNvSpPr>
            <a:spLocks noGrp="1"/>
          </p:cNvSpPr>
          <p:nvPr>
            <p:ph type="pic" sz="quarter" idx="16" hasCustomPrompt="1"/>
          </p:nvPr>
        </p:nvSpPr>
        <p:spPr>
          <a:xfrm>
            <a:off x="1367999" y="1974850"/>
            <a:ext cx="3503865" cy="4118446"/>
          </a:xfrm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accent6"/>
                </a:solidFill>
              </a:defRPr>
            </a:lvl1pPr>
          </a:lstStyle>
          <a:p>
            <a:r>
              <a:rPr lang="da-DK" dirty="0"/>
              <a:t>Klik på ikon for at indsætte billede</a:t>
            </a:r>
          </a:p>
        </p:txBody>
      </p:sp>
      <p:sp>
        <p:nvSpPr>
          <p:cNvPr id="17" name="Pladsholder til indhold 4"/>
          <p:cNvSpPr>
            <a:spLocks noGrp="1"/>
          </p:cNvSpPr>
          <p:nvPr>
            <p:ph sz="quarter" idx="14" hasCustomPrompt="1"/>
          </p:nvPr>
        </p:nvSpPr>
        <p:spPr>
          <a:xfrm>
            <a:off x="5147999" y="1989138"/>
            <a:ext cx="6356613" cy="4104158"/>
          </a:xfrm>
        </p:spPr>
        <p:txBody>
          <a:bodyPr/>
          <a:lstStyle>
            <a:lvl1pPr marL="126000" indent="-126000">
              <a:defRPr sz="1800"/>
            </a:lvl1pPr>
            <a:lvl2pPr marL="450000" indent="-108000">
              <a:defRPr sz="1600"/>
            </a:lvl2pPr>
            <a:lvl3pPr marL="810000" indent="-108000">
              <a:defRPr sz="1400"/>
            </a:lvl3pPr>
            <a:lvl4pPr marL="1152000" indent="-90000">
              <a:defRPr sz="1200"/>
            </a:lvl4pPr>
            <a:lvl5pPr marL="1512000" indent="-90000">
              <a:defRPr sz="1000"/>
            </a:lvl5pPr>
            <a:lvl6pPr marL="1872000">
              <a:defRPr sz="1000"/>
            </a:lvl6pPr>
            <a:lvl7pPr marL="2232000">
              <a:defRPr sz="1000"/>
            </a:lvl7pPr>
            <a:lvl8pPr marL="2592000">
              <a:defRPr/>
            </a:lvl8pPr>
            <a:lvl9pPr marL="2952000">
              <a:defRPr sz="1000"/>
            </a:lvl9pPr>
          </a:lstStyle>
          <a:p>
            <a:pPr lvl="0"/>
            <a:r>
              <a:rPr lang="da-DK" dirty="0"/>
              <a:t>Brødtekst 18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 niveau</a:t>
            </a:r>
          </a:p>
          <a:p>
            <a:pPr lvl="6"/>
            <a:r>
              <a:rPr lang="da-DK" dirty="0"/>
              <a:t>7 niveau</a:t>
            </a:r>
          </a:p>
          <a:p>
            <a:pPr lvl="7"/>
            <a:r>
              <a:rPr lang="da-DK" dirty="0"/>
              <a:t>8 niveau</a:t>
            </a:r>
          </a:p>
          <a:p>
            <a:pPr lvl="8"/>
            <a:r>
              <a:rPr lang="da-DK" dirty="0"/>
              <a:t>9 niveau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C2AF5AB9-1CB1-496F-9EC0-8AEA03F4AD6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920C77BC-0619-4B83-AE63-F3B07DBCC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ext" descr="{&quot;templafy&quot;:{&quot;id&quot;:&quot;4bfe733f-1894-4d64-91af-8de892e1456d&quot;}}" hidden="1" title="UserProfile.CenterFreeText">
            <a:extLst>
              <a:ext uri="{FF2B5EF4-FFF2-40B4-BE49-F238E27FC236}">
                <a16:creationId xmlns:a16="http://schemas.microsoft.com/office/drawing/2014/main" id="{4A81FBCC-2D00-40FA-A91D-C1C678FFE578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12" name="text" descr="{&quot;templafy&quot;:{&quot;id&quot;:&quot;7d3b08f7-7800-4f37-be1d-a17b15e2d5b0&quot;}}" title="Form.PresentationTitle">
            <a:extLst>
              <a:ext uri="{FF2B5EF4-FFF2-40B4-BE49-F238E27FC236}">
                <a16:creationId xmlns:a16="http://schemas.microsoft.com/office/drawing/2014/main" id="{27955C15-87DF-44D3-BB7F-46DF20BDC193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pic>
        <p:nvPicPr>
          <p:cNvPr id="187858736" name="image" descr="{&quot;templafy&quot;:{&quot;id&quot;:&quot;f4ca3820-4749-40d1-aad1-8f5a6abf7a8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26" name="text" descr="{&quot;templafy&quot;:{&quot;id&quot;:&quot;2f5b187c-d725-4bd1-9deb-73811f62cedb&quot;}}" title="UserProfile.Name">
            <a:extLst>
              <a:ext uri="{FF2B5EF4-FFF2-40B4-BE49-F238E27FC236}">
                <a16:creationId xmlns:a16="http://schemas.microsoft.com/office/drawing/2014/main" id="{91271CC7-CBC0-4401-960C-8A2FB37DB8CF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sp>
        <p:nvSpPr>
          <p:cNvPr id="27" name="text" descr="{&quot;templafy&quot;:{&quot;id&quot;:&quot;3e1cbbf7-4fe5-4f06-9f76-8cc2f4cb0612&quot;}}" hidden="1" title="Form.Manuel_dato">
            <a:extLst>
              <a:ext uri="{FF2B5EF4-FFF2-40B4-BE49-F238E27FC236}">
                <a16:creationId xmlns:a16="http://schemas.microsoft.com/office/drawing/2014/main" id="{EF71415C-C868-4AF0-9233-D343B0457C65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sp>
        <p:nvSpPr>
          <p:cNvPr id="13" name="Pladsholder til diasnummer 5">
            <a:extLst>
              <a:ext uri="{FF2B5EF4-FFF2-40B4-BE49-F238E27FC236}">
                <a16:creationId xmlns:a16="http://schemas.microsoft.com/office/drawing/2014/main" id="{1BD301D4-B1F3-4E2B-80B8-84716EBD7E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8" name="Billede 17" descr="Et billede, der indeholder tekst&#10;&#10;Automatisk genereret beskrivelse">
            <a:extLst>
              <a:ext uri="{FF2B5EF4-FFF2-40B4-BE49-F238E27FC236}">
                <a16:creationId xmlns:a16="http://schemas.microsoft.com/office/drawing/2014/main" id="{49F82D20-A24B-4ED3-9DC1-FA6201389A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00589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2A81C073-453A-442E-AB33-B3AAFBCE3378}"/>
              </a:ext>
            </a:extLst>
          </p:cNvPr>
          <p:cNvSpPr txBox="1">
            <a:spLocks/>
          </p:cNvSpPr>
          <p:nvPr userDrawn="1"/>
        </p:nvSpPr>
        <p:spPr>
          <a:xfrm>
            <a:off x="1367391" y="872716"/>
            <a:ext cx="10137524" cy="82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rgbClr val="1F4A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rgbClr val="1F4A60"/>
                </a:solidFill>
              </a:rPr>
              <a:t>Overskrift 28pt i max. to linjer </a:t>
            </a:r>
            <a:br>
              <a:rPr lang="da-DK" dirty="0">
                <a:solidFill>
                  <a:srgbClr val="1F4A60"/>
                </a:solidFill>
              </a:rPr>
            </a:br>
            <a:r>
              <a:rPr lang="da-DK" dirty="0">
                <a:solidFill>
                  <a:srgbClr val="1F4A60"/>
                </a:solidFill>
              </a:rPr>
              <a:t>teksten vokser opad</a:t>
            </a:r>
          </a:p>
        </p:txBody>
      </p:sp>
      <p:sp>
        <p:nvSpPr>
          <p:cNvPr id="20" name="Pladsholder til indhold 2">
            <a:extLst>
              <a:ext uri="{FF2B5EF4-FFF2-40B4-BE49-F238E27FC236}">
                <a16:creationId xmlns:a16="http://schemas.microsoft.com/office/drawing/2014/main" id="{56CBBFB9-5DF3-4D51-9DD2-8C662362C03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367999" y="1989138"/>
            <a:ext cx="10136614" cy="3996145"/>
          </a:xfrm>
        </p:spPr>
        <p:txBody>
          <a:bodyPr/>
          <a:lstStyle>
            <a:lvl1pPr marL="270000" indent="-270000">
              <a:defRPr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/>
            </a:lvl4pPr>
            <a:lvl5pPr marL="1656000" indent="-216000">
              <a:defRPr/>
            </a:lvl5pPr>
            <a:lvl6pPr marL="1998000" indent="-180000">
              <a:defRPr/>
            </a:lvl6pPr>
            <a:lvl7pPr marL="2358000" indent="-180000">
              <a:defRPr/>
            </a:lvl7pPr>
            <a:lvl8pPr marL="2718000" indent="-180000">
              <a:defRPr/>
            </a:lvl8pPr>
            <a:lvl9pPr marL="2718000" indent="-180000">
              <a:defRPr sz="1000"/>
            </a:lvl9pPr>
          </a:lstStyle>
          <a:p>
            <a:pPr lvl="0"/>
            <a:r>
              <a:rPr lang="da-DK" dirty="0"/>
              <a:t>Brødtekst 22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sp>
        <p:nvSpPr>
          <p:cNvPr id="24" name="Hvid dæk boks">
            <a:extLst>
              <a:ext uri="{FF2B5EF4-FFF2-40B4-BE49-F238E27FC236}">
                <a16:creationId xmlns:a16="http://schemas.microsoft.com/office/drawing/2014/main" id="{BE699CE1-E7E4-4383-BF65-18BBB39E3EA3}"/>
              </a:ext>
            </a:extLst>
          </p:cNvPr>
          <p:cNvSpPr/>
          <p:nvPr userDrawn="1"/>
        </p:nvSpPr>
        <p:spPr>
          <a:xfrm>
            <a:off x="1" y="0"/>
            <a:ext cx="12199488" cy="6858000"/>
          </a:xfrm>
          <a:prstGeom prst="rect">
            <a:avLst/>
          </a:prstGeom>
          <a:solidFill>
            <a:srgbClr val="1F4A60">
              <a:alpha val="2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pic>
        <p:nvPicPr>
          <p:cNvPr id="25" name="Billede 24" descr="Et billede, der indeholder tekst&#10;&#10;Automatisk genereret beskrivelse">
            <a:extLst>
              <a:ext uri="{FF2B5EF4-FFF2-40B4-BE49-F238E27FC236}">
                <a16:creationId xmlns:a16="http://schemas.microsoft.com/office/drawing/2014/main" id="{97DA42F0-4BB9-402E-88D8-366784AD08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40751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3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  <p:sp>
        <p:nvSpPr>
          <p:cNvPr id="18" name="Pladsholder til indhold 2">
            <a:extLst>
              <a:ext uri="{FF2B5EF4-FFF2-40B4-BE49-F238E27FC236}">
                <a16:creationId xmlns:a16="http://schemas.microsoft.com/office/drawing/2014/main" id="{AE8B615A-4374-4B91-A191-D1DBD7C8C0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781924" y="2006069"/>
            <a:ext cx="4146723" cy="3831675"/>
          </a:xfrm>
        </p:spPr>
        <p:txBody>
          <a:bodyPr/>
          <a:lstStyle>
            <a:lvl1pPr marL="270000" indent="-270000">
              <a:defRPr baseline="0"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>
                <a:solidFill>
                  <a:srgbClr val="1F4A60"/>
                </a:solidFill>
              </a:defRPr>
            </a:lvl4pPr>
            <a:lvl5pPr marL="1656000" indent="-216000">
              <a:defRPr>
                <a:solidFill>
                  <a:srgbClr val="1F4A60"/>
                </a:solidFill>
              </a:defRPr>
            </a:lvl5pPr>
            <a:lvl6pPr marL="1998000" indent="-180000">
              <a:defRPr>
                <a:solidFill>
                  <a:srgbClr val="1F4A60"/>
                </a:solidFill>
              </a:defRPr>
            </a:lvl6pPr>
            <a:lvl7pPr marL="2358000" indent="-180000">
              <a:defRPr>
                <a:solidFill>
                  <a:srgbClr val="1F4A60"/>
                </a:solidFill>
              </a:defRPr>
            </a:lvl7pPr>
            <a:lvl8pPr marL="2718000" indent="-180000">
              <a:defRPr>
                <a:solidFill>
                  <a:srgbClr val="1F4A60"/>
                </a:solidFill>
              </a:defRPr>
            </a:lvl8pPr>
            <a:lvl9pPr marL="2538000" indent="0">
              <a:buNone/>
              <a:defRPr sz="1000">
                <a:solidFill>
                  <a:srgbClr val="1F4A60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</p:spTree>
    <p:extLst>
      <p:ext uri="{BB962C8B-B14F-4D97-AF65-F5344CB8AC3E}">
        <p14:creationId xmlns:p14="http://schemas.microsoft.com/office/powerpoint/2010/main" val="405091506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  <p:sp>
        <p:nvSpPr>
          <p:cNvPr id="18" name="Pladsholder til indhold 2">
            <a:extLst>
              <a:ext uri="{FF2B5EF4-FFF2-40B4-BE49-F238E27FC236}">
                <a16:creationId xmlns:a16="http://schemas.microsoft.com/office/drawing/2014/main" id="{AE8B615A-4374-4B91-A191-D1DBD7C8C0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781924" y="2006069"/>
            <a:ext cx="4146723" cy="3831675"/>
          </a:xfrm>
        </p:spPr>
        <p:txBody>
          <a:bodyPr/>
          <a:lstStyle>
            <a:lvl1pPr marL="270000" indent="-270000">
              <a:defRPr baseline="0"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>
                <a:solidFill>
                  <a:srgbClr val="1F4A60"/>
                </a:solidFill>
              </a:defRPr>
            </a:lvl4pPr>
            <a:lvl5pPr marL="1656000" indent="-216000">
              <a:defRPr>
                <a:solidFill>
                  <a:srgbClr val="1F4A60"/>
                </a:solidFill>
              </a:defRPr>
            </a:lvl5pPr>
            <a:lvl6pPr marL="1998000" indent="-180000">
              <a:defRPr>
                <a:solidFill>
                  <a:srgbClr val="1F4A60"/>
                </a:solidFill>
              </a:defRPr>
            </a:lvl6pPr>
            <a:lvl7pPr marL="2358000" indent="-180000">
              <a:defRPr>
                <a:solidFill>
                  <a:srgbClr val="1F4A60"/>
                </a:solidFill>
              </a:defRPr>
            </a:lvl7pPr>
            <a:lvl8pPr marL="2718000" indent="-180000">
              <a:defRPr>
                <a:solidFill>
                  <a:srgbClr val="1F4A60"/>
                </a:solidFill>
              </a:defRPr>
            </a:lvl8pPr>
            <a:lvl9pPr marL="2538000" indent="0">
              <a:buNone/>
              <a:defRPr sz="1000">
                <a:solidFill>
                  <a:srgbClr val="1F4A60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</p:spTree>
    <p:extLst>
      <p:ext uri="{BB962C8B-B14F-4D97-AF65-F5344CB8AC3E}">
        <p14:creationId xmlns:p14="http://schemas.microsoft.com/office/powerpoint/2010/main" val="93759772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  <p:sp>
        <p:nvSpPr>
          <p:cNvPr id="18" name="Pladsholder til indhold 2">
            <a:extLst>
              <a:ext uri="{FF2B5EF4-FFF2-40B4-BE49-F238E27FC236}">
                <a16:creationId xmlns:a16="http://schemas.microsoft.com/office/drawing/2014/main" id="{AE8B615A-4374-4B91-A191-D1DBD7C8C0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781924" y="2006069"/>
            <a:ext cx="4146723" cy="3831675"/>
          </a:xfrm>
        </p:spPr>
        <p:txBody>
          <a:bodyPr/>
          <a:lstStyle>
            <a:lvl1pPr marL="270000" indent="-270000">
              <a:defRPr baseline="0"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>
                <a:solidFill>
                  <a:srgbClr val="1F4A60"/>
                </a:solidFill>
              </a:defRPr>
            </a:lvl4pPr>
            <a:lvl5pPr marL="1656000" indent="-216000">
              <a:defRPr>
                <a:solidFill>
                  <a:srgbClr val="1F4A60"/>
                </a:solidFill>
              </a:defRPr>
            </a:lvl5pPr>
            <a:lvl6pPr marL="1998000" indent="-180000">
              <a:defRPr>
                <a:solidFill>
                  <a:srgbClr val="1F4A60"/>
                </a:solidFill>
              </a:defRPr>
            </a:lvl6pPr>
            <a:lvl7pPr marL="2358000" indent="-180000">
              <a:defRPr>
                <a:solidFill>
                  <a:srgbClr val="1F4A60"/>
                </a:solidFill>
              </a:defRPr>
            </a:lvl7pPr>
            <a:lvl8pPr marL="2718000" indent="-180000">
              <a:defRPr>
                <a:solidFill>
                  <a:srgbClr val="1F4A60"/>
                </a:solidFill>
              </a:defRPr>
            </a:lvl8pPr>
            <a:lvl9pPr marL="2538000" indent="0">
              <a:buNone/>
              <a:defRPr sz="1000">
                <a:solidFill>
                  <a:srgbClr val="1F4A60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</p:spTree>
    <p:extLst>
      <p:ext uri="{BB962C8B-B14F-4D97-AF65-F5344CB8AC3E}">
        <p14:creationId xmlns:p14="http://schemas.microsoft.com/office/powerpoint/2010/main" val="32103335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ine title and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vid baggrund"/>
          <p:cNvSpPr/>
          <p:nvPr userDrawn="1"/>
        </p:nvSpPr>
        <p:spPr bwMode="auto">
          <a:xfrm>
            <a:off x="0" y="2"/>
            <a:ext cx="12196376" cy="5894387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296" tIns="45646" rIns="91296" bIns="456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3027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597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16" name="Black Rectangle"/>
          <p:cNvSpPr/>
          <p:nvPr userDrawn="1"/>
        </p:nvSpPr>
        <p:spPr>
          <a:xfrm>
            <a:off x="990263" y="1045687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91" dirty="0"/>
          </a:p>
          <a:p>
            <a:pPr algn="ctr"/>
            <a:endParaRPr lang="en-GB" sz="4791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15995" y="228627"/>
            <a:ext cx="11559010" cy="752101"/>
          </a:xfrm>
        </p:spPr>
        <p:txBody>
          <a:bodyPr anchor="t" anchorCtr="0"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6100" y="1373023"/>
            <a:ext cx="10222987" cy="4521366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18" name="TextBox 17"/>
          <p:cNvSpPr txBox="1"/>
          <p:nvPr userDrawn="1"/>
        </p:nvSpPr>
        <p:spPr>
          <a:xfrm>
            <a:off x="-1974112" y="340164"/>
            <a:ext cx="1826368" cy="3077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Overskrift én linje</a:t>
            </a:r>
            <a:endParaRPr lang="en-GB" sz="4791"/>
          </a:p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Light eller AU Passata Bold</a:t>
            </a:r>
            <a:endParaRPr lang="en-GB" sz="4791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7107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3">
          <p15:clr>
            <a:srgbClr val="00000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  <p:sp>
        <p:nvSpPr>
          <p:cNvPr id="18" name="Pladsholder til indhold 2">
            <a:extLst>
              <a:ext uri="{FF2B5EF4-FFF2-40B4-BE49-F238E27FC236}">
                <a16:creationId xmlns:a16="http://schemas.microsoft.com/office/drawing/2014/main" id="{AE8B615A-4374-4B91-A191-D1DBD7C8C0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781924" y="2006069"/>
            <a:ext cx="4146723" cy="3831675"/>
          </a:xfrm>
        </p:spPr>
        <p:txBody>
          <a:bodyPr/>
          <a:lstStyle>
            <a:lvl1pPr marL="270000" indent="-270000">
              <a:defRPr baseline="0"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>
                <a:solidFill>
                  <a:srgbClr val="1F4A60"/>
                </a:solidFill>
              </a:defRPr>
            </a:lvl4pPr>
            <a:lvl5pPr marL="1656000" indent="-216000">
              <a:defRPr>
                <a:solidFill>
                  <a:srgbClr val="1F4A60"/>
                </a:solidFill>
              </a:defRPr>
            </a:lvl5pPr>
            <a:lvl6pPr marL="1998000" indent="-180000">
              <a:defRPr>
                <a:solidFill>
                  <a:srgbClr val="1F4A60"/>
                </a:solidFill>
              </a:defRPr>
            </a:lvl6pPr>
            <a:lvl7pPr marL="2358000" indent="-180000">
              <a:defRPr>
                <a:solidFill>
                  <a:srgbClr val="1F4A60"/>
                </a:solidFill>
              </a:defRPr>
            </a:lvl7pPr>
            <a:lvl8pPr marL="2718000" indent="-180000">
              <a:defRPr>
                <a:solidFill>
                  <a:srgbClr val="1F4A60"/>
                </a:solidFill>
              </a:defRPr>
            </a:lvl8pPr>
            <a:lvl9pPr marL="2538000" indent="0">
              <a:buNone/>
              <a:defRPr sz="1000">
                <a:solidFill>
                  <a:srgbClr val="1F4A60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</p:spTree>
    <p:extLst>
      <p:ext uri="{BB962C8B-B14F-4D97-AF65-F5344CB8AC3E}">
        <p14:creationId xmlns:p14="http://schemas.microsoft.com/office/powerpoint/2010/main" val="352173451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3" name="Pladsholder til billede 2">
            <a:extLst>
              <a:ext uri="{FF2B5EF4-FFF2-40B4-BE49-F238E27FC236}">
                <a16:creationId xmlns:a16="http://schemas.microsoft.com/office/drawing/2014/main" id="{E4E17A79-F37E-41DA-B54E-BEA03CB50E1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468271" y="0"/>
            <a:ext cx="4723729" cy="6858000"/>
          </a:xfrm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accent6"/>
                </a:solidFill>
              </a:defRPr>
            </a:lvl1pPr>
          </a:lstStyle>
          <a:p>
            <a:r>
              <a:rPr lang="da-DK" dirty="0"/>
              <a:t>Klik på ikon for at indsætte billede</a:t>
            </a:r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85799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dt billed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dsholder til billede 2">
            <a:extLst>
              <a:ext uri="{FF2B5EF4-FFF2-40B4-BE49-F238E27FC236}">
                <a16:creationId xmlns:a16="http://schemas.microsoft.com/office/drawing/2014/main" id="{C870A587-0A3A-42CA-9458-234900FF9E4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1"/>
            <a:ext cx="7468270" cy="6858000"/>
          </a:xfrm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accent6"/>
                </a:solidFill>
              </a:defRPr>
            </a:lvl1pPr>
          </a:lstStyle>
          <a:p>
            <a:r>
              <a:rPr lang="da-DK" dirty="0"/>
              <a:t>Klik på ikon for at indsætte billede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1ADD90D0-F6A3-4F85-A196-6E7F39CAA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84A09467-3A38-402F-9ED6-D89FA586B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3" name="Billede 12" descr="Et billede, der indeholder tekst&#10;&#10;Automatisk genereret beskrivelse">
            <a:extLst>
              <a:ext uri="{FF2B5EF4-FFF2-40B4-BE49-F238E27FC236}">
                <a16:creationId xmlns:a16="http://schemas.microsoft.com/office/drawing/2014/main" id="{2AC27FB6-1C90-4BD0-B5D7-007EE3A66C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5002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ast overskrift"/>
          <p:cNvSpPr txBox="1"/>
          <p:nvPr userDrawn="1"/>
        </p:nvSpPr>
        <p:spPr>
          <a:xfrm>
            <a:off x="539748" y="539751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6" name="Text Box 2">
            <a:extLst>
              <a:ext uri="{FF2B5EF4-FFF2-40B4-BE49-F238E27FC236}">
                <a16:creationId xmlns:a16="http://schemas.microsoft.com/office/drawing/2014/main" id="{9ED1F91D-CAD7-4803-B48E-26A1E9D134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58800" y="1479519"/>
            <a:ext cx="2280360" cy="38472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9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9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9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Ændre slide layouts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pilen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ed siden af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få vist en dropdown menu af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ige slides layout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dit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værende layout til et alternativt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</a:t>
            </a: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1 Forøg formindsk">
            <a:extLst>
              <a:ext uri="{FF2B5EF4-FFF2-40B4-BE49-F238E27FC236}">
                <a16:creationId xmlns:a16="http://schemas.microsoft.com/office/drawing/2014/main" id="{C1320887-C283-44C4-A258-0F4F30AB9B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19597" y="2564168"/>
            <a:ext cx="549328" cy="285228"/>
          </a:xfrm>
          <a:prstGeom prst="rect">
            <a:avLst/>
          </a:prstGeom>
        </p:spPr>
      </p:pic>
      <p:pic>
        <p:nvPicPr>
          <p:cNvPr id="20" name="3 Layout">
            <a:extLst>
              <a:ext uri="{FF2B5EF4-FFF2-40B4-BE49-F238E27FC236}">
                <a16:creationId xmlns:a16="http://schemas.microsoft.com/office/drawing/2014/main" id="{65C4A96F-1A4B-422A-A364-36A11A350F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6944" r="2272" b="69429"/>
          <a:stretch/>
        </p:blipFill>
        <p:spPr>
          <a:xfrm>
            <a:off x="2748981" y="3277001"/>
            <a:ext cx="593368" cy="192211"/>
          </a:xfrm>
          <a:prstGeom prst="rect">
            <a:avLst/>
          </a:prstGeom>
        </p:spPr>
      </p:pic>
      <p:pic>
        <p:nvPicPr>
          <p:cNvPr id="21" name="4 Nulstil">
            <a:extLst>
              <a:ext uri="{FF2B5EF4-FFF2-40B4-BE49-F238E27FC236}">
                <a16:creationId xmlns:a16="http://schemas.microsoft.com/office/drawing/2014/main" id="{B4442F1F-206C-4948-A2CE-402C8A7844F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48981" y="4655118"/>
            <a:ext cx="547241" cy="197798"/>
          </a:xfrm>
          <a:prstGeom prst="rect">
            <a:avLst/>
          </a:prstGeom>
        </p:spPr>
      </p:pic>
      <p:sp>
        <p:nvSpPr>
          <p:cNvPr id="22" name="Text Box 3">
            <a:extLst>
              <a:ext uri="{FF2B5EF4-FFF2-40B4-BE49-F238E27FC236}">
                <a16:creationId xmlns:a16="http://schemas.microsoft.com/office/drawing/2014/main" id="{AC472DCD-3E25-4024-9053-0797118E219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1331" y="1479519"/>
            <a:ext cx="2160798" cy="449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 eller hvilken som helst anden pladsholder, klik på pladsholderens kant. TIP: Hold Shift nede og klik på pladsholderen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 Indsæt firma billede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Klik på den bl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fy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I drop ned menuen, vælg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da-DK" altLang="da-DK" sz="900" b="0" i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 Templafy vinduet i højre side af skærmen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 Browse efter andre billed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Tools-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appen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 findes under firma fanen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browse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ter et billede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. Indsæt et kopieret billede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Tools-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appen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 findes under firma fanen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te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indsætte det kopierede billede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1F9AF259-CD67-4F52-9A1F-EC718D03CD3D}"/>
              </a:ext>
            </a:extLst>
          </p:cNvPr>
          <p:cNvGrpSpPr/>
          <p:nvPr userDrawn="1"/>
        </p:nvGrpSpPr>
        <p:grpSpPr>
          <a:xfrm>
            <a:off x="6241457" y="3341699"/>
            <a:ext cx="740398" cy="934814"/>
            <a:chOff x="6398620" y="3815586"/>
            <a:chExt cx="740398" cy="934814"/>
          </a:xfrm>
        </p:grpSpPr>
        <p:pic>
          <p:nvPicPr>
            <p:cNvPr id="24" name="6 Crop">
              <a:extLst>
                <a:ext uri="{FF2B5EF4-FFF2-40B4-BE49-F238E27FC236}">
                  <a16:creationId xmlns:a16="http://schemas.microsoft.com/office/drawing/2014/main" id="{9CB1AB9A-B60D-4B1E-9CBF-74CFC0E384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398620" y="3815586"/>
              <a:ext cx="337400" cy="321707"/>
            </a:xfrm>
            <a:prstGeom prst="rect">
              <a:avLst/>
            </a:prstGeom>
          </p:spPr>
        </p:pic>
        <p:pic>
          <p:nvPicPr>
            <p:cNvPr id="25" name="Billede 24">
              <a:extLst>
                <a:ext uri="{FF2B5EF4-FFF2-40B4-BE49-F238E27FC236}">
                  <a16:creationId xmlns:a16="http://schemas.microsoft.com/office/drawing/2014/main" id="{85D034CD-5AB5-4128-B1ED-C46433151D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1304" t="11451" r="30180" b="26335"/>
            <a:stretch/>
          </p:blipFill>
          <p:spPr>
            <a:xfrm>
              <a:off x="6442770" y="4118189"/>
              <a:ext cx="696248" cy="632211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28" name="Gruppe 27">
            <a:extLst>
              <a:ext uri="{FF2B5EF4-FFF2-40B4-BE49-F238E27FC236}">
                <a16:creationId xmlns:a16="http://schemas.microsoft.com/office/drawing/2014/main" id="{6E0524AF-02C9-42C0-A17F-A5980D805B44}"/>
              </a:ext>
            </a:extLst>
          </p:cNvPr>
          <p:cNvGrpSpPr/>
          <p:nvPr userDrawn="1"/>
        </p:nvGrpSpPr>
        <p:grpSpPr>
          <a:xfrm>
            <a:off x="6234489" y="4380694"/>
            <a:ext cx="740397" cy="929593"/>
            <a:chOff x="6391652" y="4854581"/>
            <a:chExt cx="740397" cy="929593"/>
          </a:xfrm>
        </p:grpSpPr>
        <p:pic>
          <p:nvPicPr>
            <p:cNvPr id="29" name="6 Crop">
              <a:extLst>
                <a:ext uri="{FF2B5EF4-FFF2-40B4-BE49-F238E27FC236}">
                  <a16:creationId xmlns:a16="http://schemas.microsoft.com/office/drawing/2014/main" id="{9F98BB02-E51F-4746-B69E-9C711482649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391652" y="4854581"/>
              <a:ext cx="337400" cy="321707"/>
            </a:xfrm>
            <a:prstGeom prst="rect">
              <a:avLst/>
            </a:prstGeom>
          </p:spPr>
        </p:pic>
        <p:pic>
          <p:nvPicPr>
            <p:cNvPr id="36" name="Billede 35">
              <a:extLst>
                <a:ext uri="{FF2B5EF4-FFF2-40B4-BE49-F238E27FC236}">
                  <a16:creationId xmlns:a16="http://schemas.microsoft.com/office/drawing/2014/main" id="{F03B3F55-2CD4-4955-87F4-7332ABF9C31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l="1152" t="11676" r="31017" b="26411"/>
            <a:stretch/>
          </p:blipFill>
          <p:spPr>
            <a:xfrm>
              <a:off x="6442770" y="5155024"/>
              <a:ext cx="689279" cy="629150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37" name="Gruppe 36">
            <a:extLst>
              <a:ext uri="{FF2B5EF4-FFF2-40B4-BE49-F238E27FC236}">
                <a16:creationId xmlns:a16="http://schemas.microsoft.com/office/drawing/2014/main" id="{570C9D30-5E46-4A8F-8AF8-0A3A35FF4070}"/>
              </a:ext>
            </a:extLst>
          </p:cNvPr>
          <p:cNvGrpSpPr/>
          <p:nvPr userDrawn="1"/>
        </p:nvGrpSpPr>
        <p:grpSpPr>
          <a:xfrm>
            <a:off x="6285608" y="2237665"/>
            <a:ext cx="676669" cy="997704"/>
            <a:chOff x="6442771" y="2574072"/>
            <a:chExt cx="676669" cy="997704"/>
          </a:xfrm>
        </p:grpSpPr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6459B022-C4F9-472E-A75D-684BCC545A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9" name="Billede 38">
              <a:extLst>
                <a:ext uri="{FF2B5EF4-FFF2-40B4-BE49-F238E27FC236}">
                  <a16:creationId xmlns:a16="http://schemas.microsoft.com/office/drawing/2014/main" id="{6676C55A-9D05-4855-A873-5DA79C75422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0" name="Text Box 3">
            <a:extLst>
              <a:ext uri="{FF2B5EF4-FFF2-40B4-BE49-F238E27FC236}">
                <a16:creationId xmlns:a16="http://schemas.microsoft.com/office/drawing/2014/main" id="{3D524C37-9B03-4C43-9C67-F15B8611C77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82683" y="1479519"/>
            <a:ext cx="2566254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indsætte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nyt, kan billedet lægge sig foran tekst og grafik. Hvis dette sker, højreklik på billedet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å det slår igennem på alle slides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o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ekst kommer fra Templafy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</a:t>
            </a:r>
          </a:p>
        </p:txBody>
      </p:sp>
      <p:pic>
        <p:nvPicPr>
          <p:cNvPr id="41" name="6 Beskær">
            <a:extLst>
              <a:ext uri="{FF2B5EF4-FFF2-40B4-BE49-F238E27FC236}">
                <a16:creationId xmlns:a16="http://schemas.microsoft.com/office/drawing/2014/main" id="{6D747865-747C-4723-A63A-8AA2425D45D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085312" y="1658669"/>
            <a:ext cx="337400" cy="321707"/>
          </a:xfrm>
          <a:prstGeom prst="rect">
            <a:avLst/>
          </a:prstGeom>
        </p:spPr>
      </p:pic>
      <p:pic>
        <p:nvPicPr>
          <p:cNvPr id="42" name="7 Skalér billede">
            <a:extLst>
              <a:ext uri="{FF2B5EF4-FFF2-40B4-BE49-F238E27FC236}">
                <a16:creationId xmlns:a16="http://schemas.microsoft.com/office/drawing/2014/main" id="{5183FB2B-6E9E-41FC-88C0-479135A148CA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085312" y="2019309"/>
            <a:ext cx="359695" cy="335309"/>
          </a:xfrm>
          <a:prstGeom prst="rect">
            <a:avLst/>
          </a:prstGeom>
        </p:spPr>
      </p:pic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F5A184B9-90D9-4973-987E-71621E0A29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D015F341-CDF3-4F74-8F12-0BEE09574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8D0652-AB80-46FC-A21E-38F4C38953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2386877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lede 17">
            <a:extLst>
              <a:ext uri="{FF2B5EF4-FFF2-40B4-BE49-F238E27FC236}">
                <a16:creationId xmlns:a16="http://schemas.microsoft.com/office/drawing/2014/main" id="{0FADFA77-4294-4494-B9BA-9EA84CBE16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943871" y="3152939"/>
            <a:ext cx="6624737" cy="1356181"/>
          </a:xfrm>
        </p:spPr>
        <p:txBody>
          <a:bodyPr anchor="t" anchorCtr="0"/>
          <a:lstStyle>
            <a:lvl1pPr>
              <a:defRPr sz="3600">
                <a:solidFill>
                  <a:srgbClr val="5C818B"/>
                </a:solidFill>
              </a:defRPr>
            </a:lvl1pPr>
          </a:lstStyle>
          <a:p>
            <a:r>
              <a:rPr lang="da-DK" dirty="0"/>
              <a:t>Overskrift 36 pt skrives her i to eller flere linjer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941319" y="4797152"/>
            <a:ext cx="6624737" cy="888504"/>
          </a:xfrm>
        </p:spPr>
        <p:txBody>
          <a:bodyPr/>
          <a:lstStyle>
            <a:lvl1pPr marL="0" indent="0" algn="l">
              <a:lnSpc>
                <a:spcPct val="89000"/>
              </a:lnSpc>
              <a:buNone/>
              <a:defRPr sz="2000" baseline="0">
                <a:solidFill>
                  <a:srgbClr val="5C818B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Underoverskrift 20pt skrives her i to linjer eller max tre linjer</a:t>
            </a:r>
          </a:p>
        </p:txBody>
      </p:sp>
      <p:sp>
        <p:nvSpPr>
          <p:cNvPr id="17" name="text" descr="{&quot;templafy&quot;:{&quot;id&quot;:&quot;5a24f27e-a91f-40e4-9a57-11bca2912093&quot;}}" title="Form.PresentationTitle">
            <a:extLst>
              <a:ext uri="{FF2B5EF4-FFF2-40B4-BE49-F238E27FC236}">
                <a16:creationId xmlns:a16="http://schemas.microsoft.com/office/drawing/2014/main" id="{6E96F3D6-F9A3-4A0A-AF11-9947015BA81A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19" name="text" descr="{&quot;templafy&quot;:{&quot;id&quot;:&quot;27f04b40-1f52-4ad2-8673-19146f74321f&quot;}}" title="UserProfile.Name">
            <a:extLst>
              <a:ext uri="{FF2B5EF4-FFF2-40B4-BE49-F238E27FC236}">
                <a16:creationId xmlns:a16="http://schemas.microsoft.com/office/drawing/2014/main" id="{443C3F1B-6F22-44FD-9D20-8046FEEFD6D9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DB375924-8F1B-4A42-B386-30D658A1EE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40073283-4609-4E3F-B89A-30DFFAA2EA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57804933" name="image" descr="{&quot;templafy&quot;:{&quot;id&quot;:&quot;5a4e4ddd-03a0-48ad-86fc-790885a0b952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29" name="text" descr="{&quot;templafy&quot;:{&quot;id&quot;:&quot;8cc16c53-fb3f-4121-a465-a2a0d08efebd&quot;}}" hidden="1" title="UserProfile.CenterFreeText">
            <a:extLst>
              <a:ext uri="{FF2B5EF4-FFF2-40B4-BE49-F238E27FC236}">
                <a16:creationId xmlns:a16="http://schemas.microsoft.com/office/drawing/2014/main" id="{5A30AC9F-7EFA-48B4-8857-325A6FCD653B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31" name="text" descr="{&quot;templafy&quot;:{&quot;id&quot;:&quot;0ca78db9-1f34-4a6a-b3d5-428e8457d8fb&quot;}}" hidden="1" title="Form.Manuel_dato">
            <a:extLst>
              <a:ext uri="{FF2B5EF4-FFF2-40B4-BE49-F238E27FC236}">
                <a16:creationId xmlns:a16="http://schemas.microsoft.com/office/drawing/2014/main" id="{85898D87-959A-4A63-81D8-7ADE604F6901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957064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Èn tekst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1367391" y="872716"/>
            <a:ext cx="10137524" cy="828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Overskrift 28pt i max. to linjer </a:t>
            </a:r>
            <a:br>
              <a:rPr lang="da-DK" dirty="0"/>
            </a:br>
            <a:r>
              <a:rPr lang="da-DK" dirty="0"/>
              <a:t>teksten vokser opad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 hasCustomPrompt="1"/>
          </p:nvPr>
        </p:nvSpPr>
        <p:spPr>
          <a:xfrm>
            <a:off x="1367999" y="1989138"/>
            <a:ext cx="10136614" cy="3996145"/>
          </a:xfrm>
        </p:spPr>
        <p:txBody>
          <a:bodyPr/>
          <a:lstStyle>
            <a:lvl1pPr marL="270000" indent="-270000">
              <a:defRPr/>
            </a:lvl1pPr>
            <a:lvl2pPr marL="630000" indent="-270000">
              <a:defRPr/>
            </a:lvl2pPr>
            <a:lvl3pPr marL="936000" indent="-234000">
              <a:defRPr/>
            </a:lvl3pPr>
            <a:lvl4pPr marL="1296000" indent="-216000">
              <a:defRPr/>
            </a:lvl4pPr>
            <a:lvl5pPr marL="1656000" indent="-216000">
              <a:defRPr/>
            </a:lvl5pPr>
            <a:lvl6pPr marL="1998000" indent="-180000">
              <a:defRPr/>
            </a:lvl6pPr>
            <a:lvl7pPr marL="2358000" indent="-180000">
              <a:defRPr/>
            </a:lvl7pPr>
            <a:lvl8pPr marL="2718000" indent="-180000">
              <a:defRPr/>
            </a:lvl8pPr>
            <a:lvl9pPr marL="2718000" indent="-180000">
              <a:defRPr sz="1000"/>
            </a:lvl9pPr>
          </a:lstStyle>
          <a:p>
            <a:pPr lvl="0"/>
            <a:r>
              <a:rPr lang="da-DK" dirty="0"/>
              <a:t>Brødtekst 22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sp>
        <p:nvSpPr>
          <p:cNvPr id="7" name="text" descr="{&quot;templafy&quot;:{&quot;id&quot;:&quot;e45bdb66-735d-47e2-a0dd-234e7837c26f&quot;}}" hidden="1" title="UserProfile.CenterFreeText">
            <a:extLst>
              <a:ext uri="{FF2B5EF4-FFF2-40B4-BE49-F238E27FC236}">
                <a16:creationId xmlns:a16="http://schemas.microsoft.com/office/drawing/2014/main" id="{E53FC353-2F0F-4922-821A-1A51D53892CD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9" name="text" descr="{&quot;templafy&quot;:{&quot;id&quot;:&quot;4dda4036-98b2-42a4-a2c2-93edfa66ef6d&quot;}}" title="Form.PresentationTitle">
            <a:extLst>
              <a:ext uri="{FF2B5EF4-FFF2-40B4-BE49-F238E27FC236}">
                <a16:creationId xmlns:a16="http://schemas.microsoft.com/office/drawing/2014/main" id="{53BDA2D0-B22F-42B1-A4C9-3F000756EB91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pic>
        <p:nvPicPr>
          <p:cNvPr id="1123864823" name="image" descr="{&quot;templafy&quot;:{&quot;id&quot;:&quot;fd6fe772-42fe-4deb-970d-ff910f24d29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22" name="text" descr="{&quot;templafy&quot;:{&quot;id&quot;:&quot;e3aec226-ce87-4f1e-9730-49c43d4887b8&quot;}}" title="UserProfile.Name">
            <a:extLst>
              <a:ext uri="{FF2B5EF4-FFF2-40B4-BE49-F238E27FC236}">
                <a16:creationId xmlns:a16="http://schemas.microsoft.com/office/drawing/2014/main" id="{2436B9E0-97E8-428C-B474-A1B8FBC4D037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sp>
        <p:nvSpPr>
          <p:cNvPr id="23" name="text" descr="{&quot;templafy&quot;:{&quot;id&quot;:&quot;578e9232-c971-4db3-9317-b0ca24de66d0&quot;}}" hidden="1" title="Form.Manuel_dato">
            <a:extLst>
              <a:ext uri="{FF2B5EF4-FFF2-40B4-BE49-F238E27FC236}">
                <a16:creationId xmlns:a16="http://schemas.microsoft.com/office/drawing/2014/main" id="{D852104B-31C3-45BB-B8A2-2EFD81BDA39E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pic>
        <p:nvPicPr>
          <p:cNvPr id="1500417958" name="image" descr="{&quot;templafy&quot;:{&quot;id&quot;:&quot;849d8d41-4ac2-45dd-8ba1-0e79b8c5810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7600" y="97200"/>
            <a:ext cx="2178000" cy="684000"/>
          </a:xfrm>
          <a:prstGeom prst="rect">
            <a:avLst/>
          </a:prstGeom>
        </p:spPr>
      </p:pic>
      <p:pic>
        <p:nvPicPr>
          <p:cNvPr id="4" name="Billede 3" descr="Et billede, der indeholder tekst&#10;&#10;Automatisk genereret beskrivelse">
            <a:extLst>
              <a:ext uri="{FF2B5EF4-FFF2-40B4-BE49-F238E27FC236}">
                <a16:creationId xmlns:a16="http://schemas.microsoft.com/office/drawing/2014/main" id="{AB4F20AF-CBD4-433C-B202-AC922799AA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53567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illede og 2/3 tekst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F414A781-E1EA-496D-8900-B19CC30039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Overskrift 28pt i max. to linjer </a:t>
            </a:r>
            <a:br>
              <a:rPr lang="da-DK" dirty="0"/>
            </a:br>
            <a:r>
              <a:rPr lang="da-DK" dirty="0"/>
              <a:t>teksten vokser opad</a:t>
            </a:r>
            <a:endParaRPr lang="en-GB" dirty="0"/>
          </a:p>
        </p:txBody>
      </p:sp>
      <p:sp>
        <p:nvSpPr>
          <p:cNvPr id="25" name="Pladsholder til billede 2"/>
          <p:cNvSpPr>
            <a:spLocks noGrp="1"/>
          </p:cNvSpPr>
          <p:nvPr>
            <p:ph type="pic" sz="quarter" idx="16" hasCustomPrompt="1"/>
          </p:nvPr>
        </p:nvSpPr>
        <p:spPr>
          <a:xfrm>
            <a:off x="1367999" y="1974850"/>
            <a:ext cx="3503865" cy="4118446"/>
          </a:xfrm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accent6"/>
                </a:solidFill>
              </a:defRPr>
            </a:lvl1pPr>
          </a:lstStyle>
          <a:p>
            <a:r>
              <a:rPr lang="da-DK" dirty="0"/>
              <a:t>Klik på ikon for at indsætte billede</a:t>
            </a:r>
          </a:p>
        </p:txBody>
      </p:sp>
      <p:sp>
        <p:nvSpPr>
          <p:cNvPr id="17" name="Pladsholder til indhold 4"/>
          <p:cNvSpPr>
            <a:spLocks noGrp="1"/>
          </p:cNvSpPr>
          <p:nvPr>
            <p:ph sz="quarter" idx="14" hasCustomPrompt="1"/>
          </p:nvPr>
        </p:nvSpPr>
        <p:spPr>
          <a:xfrm>
            <a:off x="5147999" y="1989138"/>
            <a:ext cx="6356613" cy="4104158"/>
          </a:xfrm>
        </p:spPr>
        <p:txBody>
          <a:bodyPr/>
          <a:lstStyle>
            <a:lvl1pPr marL="126000" indent="-126000">
              <a:defRPr sz="1800"/>
            </a:lvl1pPr>
            <a:lvl2pPr marL="450000" indent="-108000">
              <a:defRPr sz="1600"/>
            </a:lvl2pPr>
            <a:lvl3pPr marL="810000" indent="-108000">
              <a:defRPr sz="1400"/>
            </a:lvl3pPr>
            <a:lvl4pPr marL="1152000" indent="-90000">
              <a:defRPr sz="1200"/>
            </a:lvl4pPr>
            <a:lvl5pPr marL="1512000" indent="-90000">
              <a:defRPr sz="1000"/>
            </a:lvl5pPr>
            <a:lvl6pPr marL="1872000">
              <a:defRPr sz="1000"/>
            </a:lvl6pPr>
            <a:lvl7pPr marL="2232000">
              <a:defRPr sz="1000"/>
            </a:lvl7pPr>
            <a:lvl8pPr marL="2592000">
              <a:defRPr/>
            </a:lvl8pPr>
            <a:lvl9pPr marL="2952000">
              <a:defRPr sz="1000"/>
            </a:lvl9pPr>
          </a:lstStyle>
          <a:p>
            <a:pPr lvl="0"/>
            <a:r>
              <a:rPr lang="da-DK" dirty="0"/>
              <a:t>Brødtekst 18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 niveau</a:t>
            </a:r>
          </a:p>
          <a:p>
            <a:pPr lvl="6"/>
            <a:r>
              <a:rPr lang="da-DK" dirty="0"/>
              <a:t>7 niveau</a:t>
            </a:r>
          </a:p>
          <a:p>
            <a:pPr lvl="7"/>
            <a:r>
              <a:rPr lang="da-DK" dirty="0"/>
              <a:t>8 niveau</a:t>
            </a:r>
          </a:p>
          <a:p>
            <a:pPr lvl="8"/>
            <a:r>
              <a:rPr lang="da-DK" dirty="0"/>
              <a:t>9 niveau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C2AF5AB9-1CB1-496F-9EC0-8AEA03F4AD6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920C77BC-0619-4B83-AE63-F3B07DBCC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ext" descr="{&quot;templafy&quot;:{&quot;id&quot;:&quot;4bfe733f-1894-4d64-91af-8de892e1456d&quot;}}" hidden="1" title="UserProfile.CenterFreeText">
            <a:extLst>
              <a:ext uri="{FF2B5EF4-FFF2-40B4-BE49-F238E27FC236}">
                <a16:creationId xmlns:a16="http://schemas.microsoft.com/office/drawing/2014/main" id="{4A81FBCC-2D00-40FA-A91D-C1C678FFE578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12" name="text" descr="{&quot;templafy&quot;:{&quot;id&quot;:&quot;7d3b08f7-7800-4f37-be1d-a17b15e2d5b0&quot;}}" title="Form.PresentationTitle">
            <a:extLst>
              <a:ext uri="{FF2B5EF4-FFF2-40B4-BE49-F238E27FC236}">
                <a16:creationId xmlns:a16="http://schemas.microsoft.com/office/drawing/2014/main" id="{27955C15-87DF-44D3-BB7F-46DF20BDC193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pic>
        <p:nvPicPr>
          <p:cNvPr id="187858736" name="image" descr="{&quot;templafy&quot;:{&quot;id&quot;:&quot;f4ca3820-4749-40d1-aad1-8f5a6abf7a8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26" name="text" descr="{&quot;templafy&quot;:{&quot;id&quot;:&quot;2f5b187c-d725-4bd1-9deb-73811f62cedb&quot;}}" title="UserProfile.Name">
            <a:extLst>
              <a:ext uri="{FF2B5EF4-FFF2-40B4-BE49-F238E27FC236}">
                <a16:creationId xmlns:a16="http://schemas.microsoft.com/office/drawing/2014/main" id="{91271CC7-CBC0-4401-960C-8A2FB37DB8CF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sp>
        <p:nvSpPr>
          <p:cNvPr id="27" name="text" descr="{&quot;templafy&quot;:{&quot;id&quot;:&quot;3e1cbbf7-4fe5-4f06-9f76-8cc2f4cb0612&quot;}}" hidden="1" title="Form.Manuel_dato">
            <a:extLst>
              <a:ext uri="{FF2B5EF4-FFF2-40B4-BE49-F238E27FC236}">
                <a16:creationId xmlns:a16="http://schemas.microsoft.com/office/drawing/2014/main" id="{EF71415C-C868-4AF0-9233-D343B0457C65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sp>
        <p:nvSpPr>
          <p:cNvPr id="13" name="Pladsholder til diasnummer 5">
            <a:extLst>
              <a:ext uri="{FF2B5EF4-FFF2-40B4-BE49-F238E27FC236}">
                <a16:creationId xmlns:a16="http://schemas.microsoft.com/office/drawing/2014/main" id="{1BD301D4-B1F3-4E2B-80B8-84716EBD7E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8" name="Billede 17" descr="Et billede, der indeholder tekst&#10;&#10;Automatisk genereret beskrivelse">
            <a:extLst>
              <a:ext uri="{FF2B5EF4-FFF2-40B4-BE49-F238E27FC236}">
                <a16:creationId xmlns:a16="http://schemas.microsoft.com/office/drawing/2014/main" id="{49F82D20-A24B-4ED3-9DC1-FA6201389A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07217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2A81C073-453A-442E-AB33-B3AAFBCE3378}"/>
              </a:ext>
            </a:extLst>
          </p:cNvPr>
          <p:cNvSpPr txBox="1">
            <a:spLocks/>
          </p:cNvSpPr>
          <p:nvPr userDrawn="1"/>
        </p:nvSpPr>
        <p:spPr>
          <a:xfrm>
            <a:off x="1367391" y="872716"/>
            <a:ext cx="10137524" cy="82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rgbClr val="1F4A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rgbClr val="1F4A60"/>
                </a:solidFill>
              </a:rPr>
              <a:t>Overskrift 28pt i max. to linjer </a:t>
            </a:r>
            <a:br>
              <a:rPr lang="da-DK" dirty="0">
                <a:solidFill>
                  <a:srgbClr val="1F4A60"/>
                </a:solidFill>
              </a:rPr>
            </a:br>
            <a:r>
              <a:rPr lang="da-DK" dirty="0">
                <a:solidFill>
                  <a:srgbClr val="1F4A60"/>
                </a:solidFill>
              </a:rPr>
              <a:t>teksten vokser opad</a:t>
            </a:r>
          </a:p>
        </p:txBody>
      </p:sp>
      <p:sp>
        <p:nvSpPr>
          <p:cNvPr id="20" name="Pladsholder til indhold 2">
            <a:extLst>
              <a:ext uri="{FF2B5EF4-FFF2-40B4-BE49-F238E27FC236}">
                <a16:creationId xmlns:a16="http://schemas.microsoft.com/office/drawing/2014/main" id="{56CBBFB9-5DF3-4D51-9DD2-8C662362C03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367999" y="1989138"/>
            <a:ext cx="10136614" cy="3996145"/>
          </a:xfrm>
        </p:spPr>
        <p:txBody>
          <a:bodyPr/>
          <a:lstStyle>
            <a:lvl1pPr marL="270000" indent="-270000">
              <a:defRPr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/>
            </a:lvl4pPr>
            <a:lvl5pPr marL="1656000" indent="-216000">
              <a:defRPr/>
            </a:lvl5pPr>
            <a:lvl6pPr marL="1998000" indent="-180000">
              <a:defRPr/>
            </a:lvl6pPr>
            <a:lvl7pPr marL="2358000" indent="-180000">
              <a:defRPr/>
            </a:lvl7pPr>
            <a:lvl8pPr marL="2718000" indent="-180000">
              <a:defRPr/>
            </a:lvl8pPr>
            <a:lvl9pPr marL="2718000" indent="-180000">
              <a:defRPr sz="1000"/>
            </a:lvl9pPr>
          </a:lstStyle>
          <a:p>
            <a:pPr lvl="0"/>
            <a:r>
              <a:rPr lang="da-DK" dirty="0"/>
              <a:t>Brødtekst 22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sp>
        <p:nvSpPr>
          <p:cNvPr id="24" name="Hvid dæk boks">
            <a:extLst>
              <a:ext uri="{FF2B5EF4-FFF2-40B4-BE49-F238E27FC236}">
                <a16:creationId xmlns:a16="http://schemas.microsoft.com/office/drawing/2014/main" id="{BE699CE1-E7E4-4383-BF65-18BBB39E3EA3}"/>
              </a:ext>
            </a:extLst>
          </p:cNvPr>
          <p:cNvSpPr/>
          <p:nvPr userDrawn="1"/>
        </p:nvSpPr>
        <p:spPr>
          <a:xfrm>
            <a:off x="1" y="0"/>
            <a:ext cx="12199488" cy="6858000"/>
          </a:xfrm>
          <a:prstGeom prst="rect">
            <a:avLst/>
          </a:prstGeom>
          <a:solidFill>
            <a:srgbClr val="1F4A60">
              <a:alpha val="2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pic>
        <p:nvPicPr>
          <p:cNvPr id="25" name="Billede 24" descr="Et billede, der indeholder tekst&#10;&#10;Automatisk genereret beskrivelse">
            <a:extLst>
              <a:ext uri="{FF2B5EF4-FFF2-40B4-BE49-F238E27FC236}">
                <a16:creationId xmlns:a16="http://schemas.microsoft.com/office/drawing/2014/main" id="{97DA42F0-4BB9-402E-88D8-366784AD08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06681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3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  <p:sp>
        <p:nvSpPr>
          <p:cNvPr id="18" name="Pladsholder til indhold 2">
            <a:extLst>
              <a:ext uri="{FF2B5EF4-FFF2-40B4-BE49-F238E27FC236}">
                <a16:creationId xmlns:a16="http://schemas.microsoft.com/office/drawing/2014/main" id="{AE8B615A-4374-4B91-A191-D1DBD7C8C0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781924" y="2006069"/>
            <a:ext cx="4146723" cy="3831675"/>
          </a:xfrm>
        </p:spPr>
        <p:txBody>
          <a:bodyPr/>
          <a:lstStyle>
            <a:lvl1pPr marL="270000" indent="-270000">
              <a:defRPr baseline="0"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>
                <a:solidFill>
                  <a:srgbClr val="1F4A60"/>
                </a:solidFill>
              </a:defRPr>
            </a:lvl4pPr>
            <a:lvl5pPr marL="1656000" indent="-216000">
              <a:defRPr>
                <a:solidFill>
                  <a:srgbClr val="1F4A60"/>
                </a:solidFill>
              </a:defRPr>
            </a:lvl5pPr>
            <a:lvl6pPr marL="1998000" indent="-180000">
              <a:defRPr>
                <a:solidFill>
                  <a:srgbClr val="1F4A60"/>
                </a:solidFill>
              </a:defRPr>
            </a:lvl6pPr>
            <a:lvl7pPr marL="2358000" indent="-180000">
              <a:defRPr>
                <a:solidFill>
                  <a:srgbClr val="1F4A60"/>
                </a:solidFill>
              </a:defRPr>
            </a:lvl7pPr>
            <a:lvl8pPr marL="2718000" indent="-180000">
              <a:defRPr>
                <a:solidFill>
                  <a:srgbClr val="1F4A60"/>
                </a:solidFill>
              </a:defRPr>
            </a:lvl8pPr>
            <a:lvl9pPr marL="2538000" indent="0">
              <a:buNone/>
              <a:defRPr sz="1000">
                <a:solidFill>
                  <a:srgbClr val="1F4A60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</p:spTree>
    <p:extLst>
      <p:ext uri="{BB962C8B-B14F-4D97-AF65-F5344CB8AC3E}">
        <p14:creationId xmlns:p14="http://schemas.microsoft.com/office/powerpoint/2010/main" val="76110655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  <p:sp>
        <p:nvSpPr>
          <p:cNvPr id="18" name="Pladsholder til indhold 2">
            <a:extLst>
              <a:ext uri="{FF2B5EF4-FFF2-40B4-BE49-F238E27FC236}">
                <a16:creationId xmlns:a16="http://schemas.microsoft.com/office/drawing/2014/main" id="{AE8B615A-4374-4B91-A191-D1DBD7C8C0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781924" y="2006069"/>
            <a:ext cx="4146723" cy="3831675"/>
          </a:xfrm>
        </p:spPr>
        <p:txBody>
          <a:bodyPr/>
          <a:lstStyle>
            <a:lvl1pPr marL="270000" indent="-270000">
              <a:defRPr baseline="0"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>
                <a:solidFill>
                  <a:srgbClr val="1F4A60"/>
                </a:solidFill>
              </a:defRPr>
            </a:lvl4pPr>
            <a:lvl5pPr marL="1656000" indent="-216000">
              <a:defRPr>
                <a:solidFill>
                  <a:srgbClr val="1F4A60"/>
                </a:solidFill>
              </a:defRPr>
            </a:lvl5pPr>
            <a:lvl6pPr marL="1998000" indent="-180000">
              <a:defRPr>
                <a:solidFill>
                  <a:srgbClr val="1F4A60"/>
                </a:solidFill>
              </a:defRPr>
            </a:lvl6pPr>
            <a:lvl7pPr marL="2358000" indent="-180000">
              <a:defRPr>
                <a:solidFill>
                  <a:srgbClr val="1F4A60"/>
                </a:solidFill>
              </a:defRPr>
            </a:lvl7pPr>
            <a:lvl8pPr marL="2718000" indent="-180000">
              <a:defRPr>
                <a:solidFill>
                  <a:srgbClr val="1F4A60"/>
                </a:solidFill>
              </a:defRPr>
            </a:lvl8pPr>
            <a:lvl9pPr marL="2538000" indent="0">
              <a:buNone/>
              <a:defRPr sz="1000">
                <a:solidFill>
                  <a:srgbClr val="1F4A60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</p:spTree>
    <p:extLst>
      <p:ext uri="{BB962C8B-B14F-4D97-AF65-F5344CB8AC3E}">
        <p14:creationId xmlns:p14="http://schemas.microsoft.com/office/powerpoint/2010/main" val="18319910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vid baggrund"/>
          <p:cNvSpPr/>
          <p:nvPr userDrawn="1"/>
        </p:nvSpPr>
        <p:spPr bwMode="auto">
          <a:xfrm>
            <a:off x="0" y="2"/>
            <a:ext cx="12196376" cy="5911200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296" tIns="45646" rIns="91296" bIns="456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3027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597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15" name="Black Rectangle"/>
          <p:cNvSpPr/>
          <p:nvPr userDrawn="1"/>
        </p:nvSpPr>
        <p:spPr>
          <a:xfrm>
            <a:off x="990263" y="1045687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91" dirty="0"/>
          </a:p>
          <a:p>
            <a:pPr algn="ctr"/>
            <a:endParaRPr lang="en-GB" sz="4791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6888" y="230402"/>
            <a:ext cx="5645733" cy="752400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GB" dirty="0"/>
              <a:t>Insert title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986100" y="1371603"/>
            <a:ext cx="4976521" cy="4525964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31821" y="315913"/>
            <a:ext cx="5645580" cy="558165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9" name="TextBox 8"/>
          <p:cNvSpPr txBox="1"/>
          <p:nvPr userDrawn="1"/>
        </p:nvSpPr>
        <p:spPr>
          <a:xfrm>
            <a:off x="-1974112" y="340164"/>
            <a:ext cx="1826368" cy="3077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Overskrift én linje</a:t>
            </a:r>
            <a:endParaRPr lang="en-GB" sz="4791"/>
          </a:p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Light eller AU Passata Bold</a:t>
            </a:r>
            <a:endParaRPr lang="en-GB" sz="4791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8566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4">
          <p15:clr>
            <a:srgbClr val="A4A3A4"/>
          </p15:clr>
        </p15:guide>
        <p15:guide id="2" pos="3755">
          <p15:clr>
            <a:srgbClr val="A4A3A4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  <p:sp>
        <p:nvSpPr>
          <p:cNvPr id="18" name="Pladsholder til indhold 2">
            <a:extLst>
              <a:ext uri="{FF2B5EF4-FFF2-40B4-BE49-F238E27FC236}">
                <a16:creationId xmlns:a16="http://schemas.microsoft.com/office/drawing/2014/main" id="{AE8B615A-4374-4B91-A191-D1DBD7C8C0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781924" y="2006069"/>
            <a:ext cx="4146723" cy="3831675"/>
          </a:xfrm>
        </p:spPr>
        <p:txBody>
          <a:bodyPr/>
          <a:lstStyle>
            <a:lvl1pPr marL="270000" indent="-270000">
              <a:defRPr baseline="0"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>
                <a:solidFill>
                  <a:srgbClr val="1F4A60"/>
                </a:solidFill>
              </a:defRPr>
            </a:lvl4pPr>
            <a:lvl5pPr marL="1656000" indent="-216000">
              <a:defRPr>
                <a:solidFill>
                  <a:srgbClr val="1F4A60"/>
                </a:solidFill>
              </a:defRPr>
            </a:lvl5pPr>
            <a:lvl6pPr marL="1998000" indent="-180000">
              <a:defRPr>
                <a:solidFill>
                  <a:srgbClr val="1F4A60"/>
                </a:solidFill>
              </a:defRPr>
            </a:lvl6pPr>
            <a:lvl7pPr marL="2358000" indent="-180000">
              <a:defRPr>
                <a:solidFill>
                  <a:srgbClr val="1F4A60"/>
                </a:solidFill>
              </a:defRPr>
            </a:lvl7pPr>
            <a:lvl8pPr marL="2718000" indent="-180000">
              <a:defRPr>
                <a:solidFill>
                  <a:srgbClr val="1F4A60"/>
                </a:solidFill>
              </a:defRPr>
            </a:lvl8pPr>
            <a:lvl9pPr marL="2538000" indent="0">
              <a:buNone/>
              <a:defRPr sz="1000">
                <a:solidFill>
                  <a:srgbClr val="1F4A60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</p:spTree>
    <p:extLst>
      <p:ext uri="{BB962C8B-B14F-4D97-AF65-F5344CB8AC3E}">
        <p14:creationId xmlns:p14="http://schemas.microsoft.com/office/powerpoint/2010/main" val="108628856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  <p:sp>
        <p:nvSpPr>
          <p:cNvPr id="18" name="Pladsholder til indhold 2">
            <a:extLst>
              <a:ext uri="{FF2B5EF4-FFF2-40B4-BE49-F238E27FC236}">
                <a16:creationId xmlns:a16="http://schemas.microsoft.com/office/drawing/2014/main" id="{AE8B615A-4374-4B91-A191-D1DBD7C8C0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781924" y="2006069"/>
            <a:ext cx="4146723" cy="3831675"/>
          </a:xfrm>
        </p:spPr>
        <p:txBody>
          <a:bodyPr/>
          <a:lstStyle>
            <a:lvl1pPr marL="270000" indent="-270000">
              <a:defRPr baseline="0"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>
                <a:solidFill>
                  <a:srgbClr val="1F4A60"/>
                </a:solidFill>
              </a:defRPr>
            </a:lvl4pPr>
            <a:lvl5pPr marL="1656000" indent="-216000">
              <a:defRPr>
                <a:solidFill>
                  <a:srgbClr val="1F4A60"/>
                </a:solidFill>
              </a:defRPr>
            </a:lvl5pPr>
            <a:lvl6pPr marL="1998000" indent="-180000">
              <a:defRPr>
                <a:solidFill>
                  <a:srgbClr val="1F4A60"/>
                </a:solidFill>
              </a:defRPr>
            </a:lvl6pPr>
            <a:lvl7pPr marL="2358000" indent="-180000">
              <a:defRPr>
                <a:solidFill>
                  <a:srgbClr val="1F4A60"/>
                </a:solidFill>
              </a:defRPr>
            </a:lvl7pPr>
            <a:lvl8pPr marL="2718000" indent="-180000">
              <a:defRPr>
                <a:solidFill>
                  <a:srgbClr val="1F4A60"/>
                </a:solidFill>
              </a:defRPr>
            </a:lvl8pPr>
            <a:lvl9pPr marL="2538000" indent="0">
              <a:buNone/>
              <a:defRPr sz="1000">
                <a:solidFill>
                  <a:srgbClr val="1F4A60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</p:spTree>
    <p:extLst>
      <p:ext uri="{BB962C8B-B14F-4D97-AF65-F5344CB8AC3E}">
        <p14:creationId xmlns:p14="http://schemas.microsoft.com/office/powerpoint/2010/main" val="204274021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3" name="Pladsholder til billede 2">
            <a:extLst>
              <a:ext uri="{FF2B5EF4-FFF2-40B4-BE49-F238E27FC236}">
                <a16:creationId xmlns:a16="http://schemas.microsoft.com/office/drawing/2014/main" id="{E4E17A79-F37E-41DA-B54E-BEA03CB50E1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468271" y="0"/>
            <a:ext cx="4723729" cy="6858000"/>
          </a:xfrm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accent6"/>
                </a:solidFill>
              </a:defRPr>
            </a:lvl1pPr>
          </a:lstStyle>
          <a:p>
            <a:r>
              <a:rPr lang="da-DK" dirty="0"/>
              <a:t>Klik på ikon for at indsætte billede</a:t>
            </a:r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66433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dt billed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dsholder til billede 2">
            <a:extLst>
              <a:ext uri="{FF2B5EF4-FFF2-40B4-BE49-F238E27FC236}">
                <a16:creationId xmlns:a16="http://schemas.microsoft.com/office/drawing/2014/main" id="{C870A587-0A3A-42CA-9458-234900FF9E4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1"/>
            <a:ext cx="7468270" cy="6858000"/>
          </a:xfrm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accent6"/>
                </a:solidFill>
              </a:defRPr>
            </a:lvl1pPr>
          </a:lstStyle>
          <a:p>
            <a:r>
              <a:rPr lang="da-DK" dirty="0"/>
              <a:t>Klik på ikon for at indsætte billede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1ADD90D0-F6A3-4F85-A196-6E7F39CAA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84A09467-3A38-402F-9ED6-D89FA586B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3" name="Billede 12" descr="Et billede, der indeholder tekst&#10;&#10;Automatisk genereret beskrivelse">
            <a:extLst>
              <a:ext uri="{FF2B5EF4-FFF2-40B4-BE49-F238E27FC236}">
                <a16:creationId xmlns:a16="http://schemas.microsoft.com/office/drawing/2014/main" id="{2AC27FB6-1C90-4BD0-B5D7-007EE3A66C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62117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ast overskrift"/>
          <p:cNvSpPr txBox="1"/>
          <p:nvPr userDrawn="1"/>
        </p:nvSpPr>
        <p:spPr>
          <a:xfrm>
            <a:off x="539748" y="539751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6" name="Text Box 2">
            <a:extLst>
              <a:ext uri="{FF2B5EF4-FFF2-40B4-BE49-F238E27FC236}">
                <a16:creationId xmlns:a16="http://schemas.microsoft.com/office/drawing/2014/main" id="{9ED1F91D-CAD7-4803-B48E-26A1E9D134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58800" y="1479519"/>
            <a:ext cx="2280360" cy="38472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9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9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9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Ændre slide layouts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pilen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ed siden af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få vist en dropdown menu af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ige slides layout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dit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værende layout til et alternativt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</a:t>
            </a: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1 Forøg formindsk">
            <a:extLst>
              <a:ext uri="{FF2B5EF4-FFF2-40B4-BE49-F238E27FC236}">
                <a16:creationId xmlns:a16="http://schemas.microsoft.com/office/drawing/2014/main" id="{C1320887-C283-44C4-A258-0F4F30AB9B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19597" y="2564168"/>
            <a:ext cx="549328" cy="285228"/>
          </a:xfrm>
          <a:prstGeom prst="rect">
            <a:avLst/>
          </a:prstGeom>
        </p:spPr>
      </p:pic>
      <p:pic>
        <p:nvPicPr>
          <p:cNvPr id="20" name="3 Layout">
            <a:extLst>
              <a:ext uri="{FF2B5EF4-FFF2-40B4-BE49-F238E27FC236}">
                <a16:creationId xmlns:a16="http://schemas.microsoft.com/office/drawing/2014/main" id="{65C4A96F-1A4B-422A-A364-36A11A350F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6944" r="2272" b="69429"/>
          <a:stretch/>
        </p:blipFill>
        <p:spPr>
          <a:xfrm>
            <a:off x="2748981" y="3277001"/>
            <a:ext cx="593368" cy="192211"/>
          </a:xfrm>
          <a:prstGeom prst="rect">
            <a:avLst/>
          </a:prstGeom>
        </p:spPr>
      </p:pic>
      <p:pic>
        <p:nvPicPr>
          <p:cNvPr id="21" name="4 Nulstil">
            <a:extLst>
              <a:ext uri="{FF2B5EF4-FFF2-40B4-BE49-F238E27FC236}">
                <a16:creationId xmlns:a16="http://schemas.microsoft.com/office/drawing/2014/main" id="{B4442F1F-206C-4948-A2CE-402C8A7844F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48981" y="4655118"/>
            <a:ext cx="547241" cy="197798"/>
          </a:xfrm>
          <a:prstGeom prst="rect">
            <a:avLst/>
          </a:prstGeom>
        </p:spPr>
      </p:pic>
      <p:sp>
        <p:nvSpPr>
          <p:cNvPr id="22" name="Text Box 3">
            <a:extLst>
              <a:ext uri="{FF2B5EF4-FFF2-40B4-BE49-F238E27FC236}">
                <a16:creationId xmlns:a16="http://schemas.microsoft.com/office/drawing/2014/main" id="{AC472DCD-3E25-4024-9053-0797118E219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1331" y="1479519"/>
            <a:ext cx="2160798" cy="449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 eller hvilken som helst anden pladsholder, klik på pladsholderens kant. TIP: Hold Shift nede og klik på pladsholderen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 Indsæt firma billede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Klik på den bl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fy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I drop ned menuen, vælg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da-DK" altLang="da-DK" sz="900" b="0" i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 Templafy vinduet i højre side af skærmen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 Browse efter andre billed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Tools-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appen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 findes under firma fanen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browse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ter et billede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. Indsæt et kopieret billede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Tools-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appen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 findes under firma fanen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te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indsætte det kopierede billede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1F9AF259-CD67-4F52-9A1F-EC718D03CD3D}"/>
              </a:ext>
            </a:extLst>
          </p:cNvPr>
          <p:cNvGrpSpPr/>
          <p:nvPr userDrawn="1"/>
        </p:nvGrpSpPr>
        <p:grpSpPr>
          <a:xfrm>
            <a:off x="6241457" y="3341699"/>
            <a:ext cx="740398" cy="934814"/>
            <a:chOff x="6398620" y="3815586"/>
            <a:chExt cx="740398" cy="934814"/>
          </a:xfrm>
        </p:grpSpPr>
        <p:pic>
          <p:nvPicPr>
            <p:cNvPr id="24" name="6 Crop">
              <a:extLst>
                <a:ext uri="{FF2B5EF4-FFF2-40B4-BE49-F238E27FC236}">
                  <a16:creationId xmlns:a16="http://schemas.microsoft.com/office/drawing/2014/main" id="{9CB1AB9A-B60D-4B1E-9CBF-74CFC0E384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398620" y="3815586"/>
              <a:ext cx="337400" cy="321707"/>
            </a:xfrm>
            <a:prstGeom prst="rect">
              <a:avLst/>
            </a:prstGeom>
          </p:spPr>
        </p:pic>
        <p:pic>
          <p:nvPicPr>
            <p:cNvPr id="25" name="Billede 24">
              <a:extLst>
                <a:ext uri="{FF2B5EF4-FFF2-40B4-BE49-F238E27FC236}">
                  <a16:creationId xmlns:a16="http://schemas.microsoft.com/office/drawing/2014/main" id="{85D034CD-5AB5-4128-B1ED-C46433151D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1304" t="11451" r="30180" b="26335"/>
            <a:stretch/>
          </p:blipFill>
          <p:spPr>
            <a:xfrm>
              <a:off x="6442770" y="4118189"/>
              <a:ext cx="696248" cy="632211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28" name="Gruppe 27">
            <a:extLst>
              <a:ext uri="{FF2B5EF4-FFF2-40B4-BE49-F238E27FC236}">
                <a16:creationId xmlns:a16="http://schemas.microsoft.com/office/drawing/2014/main" id="{6E0524AF-02C9-42C0-A17F-A5980D805B44}"/>
              </a:ext>
            </a:extLst>
          </p:cNvPr>
          <p:cNvGrpSpPr/>
          <p:nvPr userDrawn="1"/>
        </p:nvGrpSpPr>
        <p:grpSpPr>
          <a:xfrm>
            <a:off x="6234489" y="4380694"/>
            <a:ext cx="740397" cy="929593"/>
            <a:chOff x="6391652" y="4854581"/>
            <a:chExt cx="740397" cy="929593"/>
          </a:xfrm>
        </p:grpSpPr>
        <p:pic>
          <p:nvPicPr>
            <p:cNvPr id="29" name="6 Crop">
              <a:extLst>
                <a:ext uri="{FF2B5EF4-FFF2-40B4-BE49-F238E27FC236}">
                  <a16:creationId xmlns:a16="http://schemas.microsoft.com/office/drawing/2014/main" id="{9F98BB02-E51F-4746-B69E-9C711482649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391652" y="4854581"/>
              <a:ext cx="337400" cy="321707"/>
            </a:xfrm>
            <a:prstGeom prst="rect">
              <a:avLst/>
            </a:prstGeom>
          </p:spPr>
        </p:pic>
        <p:pic>
          <p:nvPicPr>
            <p:cNvPr id="36" name="Billede 35">
              <a:extLst>
                <a:ext uri="{FF2B5EF4-FFF2-40B4-BE49-F238E27FC236}">
                  <a16:creationId xmlns:a16="http://schemas.microsoft.com/office/drawing/2014/main" id="{F03B3F55-2CD4-4955-87F4-7332ABF9C31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l="1152" t="11676" r="31017" b="26411"/>
            <a:stretch/>
          </p:blipFill>
          <p:spPr>
            <a:xfrm>
              <a:off x="6442770" y="5155024"/>
              <a:ext cx="689279" cy="629150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37" name="Gruppe 36">
            <a:extLst>
              <a:ext uri="{FF2B5EF4-FFF2-40B4-BE49-F238E27FC236}">
                <a16:creationId xmlns:a16="http://schemas.microsoft.com/office/drawing/2014/main" id="{570C9D30-5E46-4A8F-8AF8-0A3A35FF4070}"/>
              </a:ext>
            </a:extLst>
          </p:cNvPr>
          <p:cNvGrpSpPr/>
          <p:nvPr userDrawn="1"/>
        </p:nvGrpSpPr>
        <p:grpSpPr>
          <a:xfrm>
            <a:off x="6285608" y="2237665"/>
            <a:ext cx="676669" cy="997704"/>
            <a:chOff x="6442771" y="2574072"/>
            <a:chExt cx="676669" cy="997704"/>
          </a:xfrm>
        </p:grpSpPr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6459B022-C4F9-472E-A75D-684BCC545A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9" name="Billede 38">
              <a:extLst>
                <a:ext uri="{FF2B5EF4-FFF2-40B4-BE49-F238E27FC236}">
                  <a16:creationId xmlns:a16="http://schemas.microsoft.com/office/drawing/2014/main" id="{6676C55A-9D05-4855-A873-5DA79C75422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0" name="Text Box 3">
            <a:extLst>
              <a:ext uri="{FF2B5EF4-FFF2-40B4-BE49-F238E27FC236}">
                <a16:creationId xmlns:a16="http://schemas.microsoft.com/office/drawing/2014/main" id="{3D524C37-9B03-4C43-9C67-F15B8611C77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82683" y="1479519"/>
            <a:ext cx="2566254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indsætte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nyt, kan billedet lægge sig foran tekst og grafik. Hvis dette sker, højreklik på billedet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å det slår igennem på alle slides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o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ekst kommer fra Templafy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</a:t>
            </a:r>
          </a:p>
        </p:txBody>
      </p:sp>
      <p:pic>
        <p:nvPicPr>
          <p:cNvPr id="41" name="6 Beskær">
            <a:extLst>
              <a:ext uri="{FF2B5EF4-FFF2-40B4-BE49-F238E27FC236}">
                <a16:creationId xmlns:a16="http://schemas.microsoft.com/office/drawing/2014/main" id="{6D747865-747C-4723-A63A-8AA2425D45D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085312" y="1658669"/>
            <a:ext cx="337400" cy="321707"/>
          </a:xfrm>
          <a:prstGeom prst="rect">
            <a:avLst/>
          </a:prstGeom>
        </p:spPr>
      </p:pic>
      <p:pic>
        <p:nvPicPr>
          <p:cNvPr id="42" name="7 Skalér billede">
            <a:extLst>
              <a:ext uri="{FF2B5EF4-FFF2-40B4-BE49-F238E27FC236}">
                <a16:creationId xmlns:a16="http://schemas.microsoft.com/office/drawing/2014/main" id="{5183FB2B-6E9E-41FC-88C0-479135A148CA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085312" y="2019309"/>
            <a:ext cx="359695" cy="335309"/>
          </a:xfrm>
          <a:prstGeom prst="rect">
            <a:avLst/>
          </a:prstGeom>
        </p:spPr>
      </p:pic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F5A184B9-90D9-4973-987E-71621E0A29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D015F341-CDF3-4F74-8F12-0BEE09574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8D0652-AB80-46FC-A21E-38F4C38953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881049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1887534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3923551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+mj-lt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55847362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20688"/>
            <a:ext cx="10972800" cy="796950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609600" y="1412776"/>
            <a:ext cx="5384800" cy="4525963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txBody>
          <a:bodyPr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97600" y="1412776"/>
            <a:ext cx="5384800" cy="4525963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txBody>
          <a:bodyPr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458523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29816"/>
            <a:ext cx="10972800" cy="854968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0"/>
          </p:nvPr>
        </p:nvSpPr>
        <p:spPr>
          <a:xfrm>
            <a:off x="624418" y="1557339"/>
            <a:ext cx="10943167" cy="3527425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115767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al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vid baggrund"/>
          <p:cNvSpPr/>
          <p:nvPr userDrawn="1"/>
        </p:nvSpPr>
        <p:spPr bwMode="auto">
          <a:xfrm>
            <a:off x="0" y="2"/>
            <a:ext cx="12196376" cy="5911011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296" tIns="45646" rIns="91296" bIns="4564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3027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597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15" name="Black Rectangle"/>
          <p:cNvSpPr/>
          <p:nvPr userDrawn="1"/>
        </p:nvSpPr>
        <p:spPr>
          <a:xfrm>
            <a:off x="1001341" y="2694544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91" dirty="0"/>
          </a:p>
          <a:p>
            <a:pPr algn="ctr"/>
            <a:endParaRPr lang="en-GB" sz="479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100" y="1484784"/>
            <a:ext cx="4976521" cy="971980"/>
          </a:xfrm>
        </p:spPr>
        <p:txBody>
          <a:bodyPr anchor="b" anchorCtr="0"/>
          <a:lstStyle>
            <a:lvl1pPr>
              <a:lnSpc>
                <a:spcPct val="95000"/>
              </a:lnSpc>
              <a:defRPr sz="2996">
                <a:latin typeface="+mn-lt"/>
              </a:defRPr>
            </a:lvl1pPr>
          </a:lstStyle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986100" y="3010712"/>
            <a:ext cx="4976521" cy="1858449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dirty="0"/>
              <a:t>6</a:t>
            </a:r>
            <a:endParaRPr lang="en-GB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33223" y="315913"/>
            <a:ext cx="5646270" cy="55836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9" name="TextBox 8"/>
          <p:cNvSpPr txBox="1"/>
          <p:nvPr userDrawn="1"/>
        </p:nvSpPr>
        <p:spPr>
          <a:xfrm>
            <a:off x="-1974112" y="1780883"/>
            <a:ext cx="1826368" cy="1538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Overskrift to</a:t>
            </a:r>
            <a:r>
              <a:rPr lang="en-GB" sz="998" baseline="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 linjer</a:t>
            </a:r>
            <a:endParaRPr lang="en-GB" sz="4791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9011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0">
          <p15:clr>
            <a:srgbClr val="A4A3A4"/>
          </p15:clr>
        </p15:guide>
        <p15:guide id="2" pos="3755">
          <p15:clr>
            <a:srgbClr val="A4A3A4"/>
          </p15:clr>
        </p15:guide>
        <p15:guide id="3" orient="horz" pos="3063">
          <p15:clr>
            <a:srgbClr val="A4A3A4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29816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0"/>
          </p:nvPr>
        </p:nvSpPr>
        <p:spPr>
          <a:xfrm>
            <a:off x="623392" y="1773238"/>
            <a:ext cx="10944192" cy="4176042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1631212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968702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609600" y="1340769"/>
            <a:ext cx="5384800" cy="4525963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97600" y="1340769"/>
            <a:ext cx="5384800" cy="4525963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0670981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D3A159-0E39-4C16-BCDF-3C263264CF0F}" type="datetimeFigureOut">
              <a:rPr lang="da-DK"/>
              <a:pPr>
                <a:defRPr/>
              </a:pPr>
              <a:t>15-11-2022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BB9EB1-F209-420E-A53A-516A5D1A1B78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7857476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indhold 3"/>
          <p:cNvSpPr>
            <a:spLocks noGrp="1"/>
          </p:cNvSpPr>
          <p:nvPr>
            <p:ph sz="quarter" idx="10"/>
          </p:nvPr>
        </p:nvSpPr>
        <p:spPr>
          <a:xfrm>
            <a:off x="239185" y="1341439"/>
            <a:ext cx="11713633" cy="417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2906756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D3A159-0E39-4C16-BCDF-3C263264CF0F}" type="datetimeFigureOut">
              <a:rPr lang="da-DK"/>
              <a:pPr>
                <a:defRPr/>
              </a:pPr>
              <a:t>15-11-2022</a:t>
            </a:fld>
            <a:endParaRPr lang="da-DK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3FA8A3-0D48-4013-BE86-D86969A818FE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5777940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lede 17">
            <a:extLst>
              <a:ext uri="{FF2B5EF4-FFF2-40B4-BE49-F238E27FC236}">
                <a16:creationId xmlns:a16="http://schemas.microsoft.com/office/drawing/2014/main" id="{0FADFA77-4294-4494-B9BA-9EA84CBE16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943871" y="3152939"/>
            <a:ext cx="6624737" cy="1356181"/>
          </a:xfrm>
        </p:spPr>
        <p:txBody>
          <a:bodyPr anchor="t" anchorCtr="0"/>
          <a:lstStyle>
            <a:lvl1pPr>
              <a:defRPr sz="3600">
                <a:solidFill>
                  <a:srgbClr val="5C818B"/>
                </a:solidFill>
              </a:defRPr>
            </a:lvl1pPr>
          </a:lstStyle>
          <a:p>
            <a:r>
              <a:rPr lang="da-DK" dirty="0"/>
              <a:t>Overskrift 36 pt skrives her i to eller flere linjer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941319" y="4797152"/>
            <a:ext cx="6624737" cy="888504"/>
          </a:xfrm>
        </p:spPr>
        <p:txBody>
          <a:bodyPr/>
          <a:lstStyle>
            <a:lvl1pPr marL="0" indent="0" algn="l">
              <a:lnSpc>
                <a:spcPct val="89000"/>
              </a:lnSpc>
              <a:buNone/>
              <a:defRPr sz="2000" baseline="0">
                <a:solidFill>
                  <a:srgbClr val="5C818B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Underoverskrift 20pt skrives her i to linjer eller max tre linjer</a:t>
            </a:r>
          </a:p>
        </p:txBody>
      </p:sp>
      <p:sp>
        <p:nvSpPr>
          <p:cNvPr id="17" name="text" descr="{&quot;templafy&quot;:{&quot;id&quot;:&quot;5a24f27e-a91f-40e4-9a57-11bca2912093&quot;}}" title="Form.PresentationTitle">
            <a:extLst>
              <a:ext uri="{FF2B5EF4-FFF2-40B4-BE49-F238E27FC236}">
                <a16:creationId xmlns:a16="http://schemas.microsoft.com/office/drawing/2014/main" id="{6E96F3D6-F9A3-4A0A-AF11-9947015BA81A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19" name="text" descr="{&quot;templafy&quot;:{&quot;id&quot;:&quot;27f04b40-1f52-4ad2-8673-19146f74321f&quot;}}" title="UserProfile.Name">
            <a:extLst>
              <a:ext uri="{FF2B5EF4-FFF2-40B4-BE49-F238E27FC236}">
                <a16:creationId xmlns:a16="http://schemas.microsoft.com/office/drawing/2014/main" id="{443C3F1B-6F22-44FD-9D20-8046FEEFD6D9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DB375924-8F1B-4A42-B386-30D658A1EE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40073283-4609-4E3F-B89A-30DFFAA2EA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57804933" name="image" descr="{&quot;templafy&quot;:{&quot;id&quot;:&quot;5a4e4ddd-03a0-48ad-86fc-790885a0b952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29" name="text" descr="{&quot;templafy&quot;:{&quot;id&quot;:&quot;8cc16c53-fb3f-4121-a465-a2a0d08efebd&quot;}}" hidden="1" title="UserProfile.CenterFreeText">
            <a:extLst>
              <a:ext uri="{FF2B5EF4-FFF2-40B4-BE49-F238E27FC236}">
                <a16:creationId xmlns:a16="http://schemas.microsoft.com/office/drawing/2014/main" id="{5A30AC9F-7EFA-48B4-8857-325A6FCD653B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31" name="text" descr="{&quot;templafy&quot;:{&quot;id&quot;:&quot;0ca78db9-1f34-4a6a-b3d5-428e8457d8fb&quot;}}" hidden="1" title="Form.Manuel_dato">
            <a:extLst>
              <a:ext uri="{FF2B5EF4-FFF2-40B4-BE49-F238E27FC236}">
                <a16:creationId xmlns:a16="http://schemas.microsoft.com/office/drawing/2014/main" id="{85898D87-959A-4A63-81D8-7ADE604F6901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206891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Èn tekst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1367391" y="872716"/>
            <a:ext cx="10137524" cy="828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Overskrift 28pt i max. to linjer </a:t>
            </a:r>
            <a:br>
              <a:rPr lang="da-DK" dirty="0"/>
            </a:br>
            <a:r>
              <a:rPr lang="da-DK" dirty="0"/>
              <a:t>teksten vokser opad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 hasCustomPrompt="1"/>
          </p:nvPr>
        </p:nvSpPr>
        <p:spPr>
          <a:xfrm>
            <a:off x="1367999" y="1989138"/>
            <a:ext cx="10136614" cy="3996145"/>
          </a:xfrm>
        </p:spPr>
        <p:txBody>
          <a:bodyPr/>
          <a:lstStyle>
            <a:lvl1pPr marL="270000" indent="-270000">
              <a:defRPr/>
            </a:lvl1pPr>
            <a:lvl2pPr marL="630000" indent="-270000">
              <a:defRPr/>
            </a:lvl2pPr>
            <a:lvl3pPr marL="936000" indent="-234000">
              <a:defRPr/>
            </a:lvl3pPr>
            <a:lvl4pPr marL="1296000" indent="-216000">
              <a:defRPr/>
            </a:lvl4pPr>
            <a:lvl5pPr marL="1656000" indent="-216000">
              <a:defRPr/>
            </a:lvl5pPr>
            <a:lvl6pPr marL="1998000" indent="-180000">
              <a:defRPr/>
            </a:lvl6pPr>
            <a:lvl7pPr marL="2358000" indent="-180000">
              <a:defRPr/>
            </a:lvl7pPr>
            <a:lvl8pPr marL="2718000" indent="-180000">
              <a:defRPr/>
            </a:lvl8pPr>
            <a:lvl9pPr marL="2718000" indent="-180000">
              <a:defRPr sz="1000"/>
            </a:lvl9pPr>
          </a:lstStyle>
          <a:p>
            <a:pPr lvl="0"/>
            <a:r>
              <a:rPr lang="da-DK" dirty="0"/>
              <a:t>Brødtekst 22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sp>
        <p:nvSpPr>
          <p:cNvPr id="7" name="text" descr="{&quot;templafy&quot;:{&quot;id&quot;:&quot;e45bdb66-735d-47e2-a0dd-234e7837c26f&quot;}}" hidden="1" title="UserProfile.CenterFreeText">
            <a:extLst>
              <a:ext uri="{FF2B5EF4-FFF2-40B4-BE49-F238E27FC236}">
                <a16:creationId xmlns:a16="http://schemas.microsoft.com/office/drawing/2014/main" id="{E53FC353-2F0F-4922-821A-1A51D53892CD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9" name="text" descr="{&quot;templafy&quot;:{&quot;id&quot;:&quot;4dda4036-98b2-42a4-a2c2-93edfa66ef6d&quot;}}" title="Form.PresentationTitle">
            <a:extLst>
              <a:ext uri="{FF2B5EF4-FFF2-40B4-BE49-F238E27FC236}">
                <a16:creationId xmlns:a16="http://schemas.microsoft.com/office/drawing/2014/main" id="{53BDA2D0-B22F-42B1-A4C9-3F000756EB91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pic>
        <p:nvPicPr>
          <p:cNvPr id="1123864823" name="image" descr="{&quot;templafy&quot;:{&quot;id&quot;:&quot;fd6fe772-42fe-4deb-970d-ff910f24d29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22" name="text" descr="{&quot;templafy&quot;:{&quot;id&quot;:&quot;e3aec226-ce87-4f1e-9730-49c43d4887b8&quot;}}" title="UserProfile.Name">
            <a:extLst>
              <a:ext uri="{FF2B5EF4-FFF2-40B4-BE49-F238E27FC236}">
                <a16:creationId xmlns:a16="http://schemas.microsoft.com/office/drawing/2014/main" id="{2436B9E0-97E8-428C-B474-A1B8FBC4D037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sp>
        <p:nvSpPr>
          <p:cNvPr id="23" name="text" descr="{&quot;templafy&quot;:{&quot;id&quot;:&quot;578e9232-c971-4db3-9317-b0ca24de66d0&quot;}}" hidden="1" title="Form.Manuel_dato">
            <a:extLst>
              <a:ext uri="{FF2B5EF4-FFF2-40B4-BE49-F238E27FC236}">
                <a16:creationId xmlns:a16="http://schemas.microsoft.com/office/drawing/2014/main" id="{D852104B-31C3-45BB-B8A2-2EFD81BDA39E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pic>
        <p:nvPicPr>
          <p:cNvPr id="1500417958" name="image" descr="{&quot;templafy&quot;:{&quot;id&quot;:&quot;849d8d41-4ac2-45dd-8ba1-0e79b8c5810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7600" y="97200"/>
            <a:ext cx="2178000" cy="684000"/>
          </a:xfrm>
          <a:prstGeom prst="rect">
            <a:avLst/>
          </a:prstGeom>
        </p:spPr>
      </p:pic>
      <p:pic>
        <p:nvPicPr>
          <p:cNvPr id="4" name="Billede 3" descr="Et billede, der indeholder tekst&#10;&#10;Automatisk genereret beskrivelse">
            <a:extLst>
              <a:ext uri="{FF2B5EF4-FFF2-40B4-BE49-F238E27FC236}">
                <a16:creationId xmlns:a16="http://schemas.microsoft.com/office/drawing/2014/main" id="{AB4F20AF-CBD4-433C-B202-AC922799AA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70330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illede og 2/3 tekst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F414A781-E1EA-496D-8900-B19CC30039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Overskrift 28pt i max. to linjer </a:t>
            </a:r>
            <a:br>
              <a:rPr lang="da-DK" dirty="0"/>
            </a:br>
            <a:r>
              <a:rPr lang="da-DK" dirty="0"/>
              <a:t>teksten vokser opad</a:t>
            </a:r>
            <a:endParaRPr lang="en-GB" dirty="0"/>
          </a:p>
        </p:txBody>
      </p:sp>
      <p:sp>
        <p:nvSpPr>
          <p:cNvPr id="25" name="Pladsholder til billede 2"/>
          <p:cNvSpPr>
            <a:spLocks noGrp="1"/>
          </p:cNvSpPr>
          <p:nvPr>
            <p:ph type="pic" sz="quarter" idx="16" hasCustomPrompt="1"/>
          </p:nvPr>
        </p:nvSpPr>
        <p:spPr>
          <a:xfrm>
            <a:off x="1367999" y="1974850"/>
            <a:ext cx="3503865" cy="4118446"/>
          </a:xfrm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accent6"/>
                </a:solidFill>
              </a:defRPr>
            </a:lvl1pPr>
          </a:lstStyle>
          <a:p>
            <a:r>
              <a:rPr lang="da-DK" dirty="0"/>
              <a:t>Klik på ikon for at indsætte billede</a:t>
            </a:r>
          </a:p>
        </p:txBody>
      </p:sp>
      <p:sp>
        <p:nvSpPr>
          <p:cNvPr id="17" name="Pladsholder til indhold 4"/>
          <p:cNvSpPr>
            <a:spLocks noGrp="1"/>
          </p:cNvSpPr>
          <p:nvPr>
            <p:ph sz="quarter" idx="14" hasCustomPrompt="1"/>
          </p:nvPr>
        </p:nvSpPr>
        <p:spPr>
          <a:xfrm>
            <a:off x="5147999" y="1989138"/>
            <a:ext cx="6356613" cy="4104158"/>
          </a:xfrm>
        </p:spPr>
        <p:txBody>
          <a:bodyPr/>
          <a:lstStyle>
            <a:lvl1pPr marL="126000" indent="-126000">
              <a:defRPr sz="1800"/>
            </a:lvl1pPr>
            <a:lvl2pPr marL="450000" indent="-108000">
              <a:defRPr sz="1600"/>
            </a:lvl2pPr>
            <a:lvl3pPr marL="810000" indent="-108000">
              <a:defRPr sz="1400"/>
            </a:lvl3pPr>
            <a:lvl4pPr marL="1152000" indent="-90000">
              <a:defRPr sz="1200"/>
            </a:lvl4pPr>
            <a:lvl5pPr marL="1512000" indent="-90000">
              <a:defRPr sz="1000"/>
            </a:lvl5pPr>
            <a:lvl6pPr marL="1872000">
              <a:defRPr sz="1000"/>
            </a:lvl6pPr>
            <a:lvl7pPr marL="2232000">
              <a:defRPr sz="1000"/>
            </a:lvl7pPr>
            <a:lvl8pPr marL="2592000">
              <a:defRPr/>
            </a:lvl8pPr>
            <a:lvl9pPr marL="2952000">
              <a:defRPr sz="1000"/>
            </a:lvl9pPr>
          </a:lstStyle>
          <a:p>
            <a:pPr lvl="0"/>
            <a:r>
              <a:rPr lang="da-DK" dirty="0"/>
              <a:t>Brødtekst 18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 niveau</a:t>
            </a:r>
          </a:p>
          <a:p>
            <a:pPr lvl="6"/>
            <a:r>
              <a:rPr lang="da-DK" dirty="0"/>
              <a:t>7 niveau</a:t>
            </a:r>
          </a:p>
          <a:p>
            <a:pPr lvl="7"/>
            <a:r>
              <a:rPr lang="da-DK" dirty="0"/>
              <a:t>8 niveau</a:t>
            </a:r>
          </a:p>
          <a:p>
            <a:pPr lvl="8"/>
            <a:r>
              <a:rPr lang="da-DK" dirty="0"/>
              <a:t>9 niveau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C2AF5AB9-1CB1-496F-9EC0-8AEA03F4AD6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920C77BC-0619-4B83-AE63-F3B07DBCC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ext" descr="{&quot;templafy&quot;:{&quot;id&quot;:&quot;4bfe733f-1894-4d64-91af-8de892e1456d&quot;}}" hidden="1" title="UserProfile.CenterFreeText">
            <a:extLst>
              <a:ext uri="{FF2B5EF4-FFF2-40B4-BE49-F238E27FC236}">
                <a16:creationId xmlns:a16="http://schemas.microsoft.com/office/drawing/2014/main" id="{4A81FBCC-2D00-40FA-A91D-C1C678FFE578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12" name="text" descr="{&quot;templafy&quot;:{&quot;id&quot;:&quot;7d3b08f7-7800-4f37-be1d-a17b15e2d5b0&quot;}}" title="Form.PresentationTitle">
            <a:extLst>
              <a:ext uri="{FF2B5EF4-FFF2-40B4-BE49-F238E27FC236}">
                <a16:creationId xmlns:a16="http://schemas.microsoft.com/office/drawing/2014/main" id="{27955C15-87DF-44D3-BB7F-46DF20BDC193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pic>
        <p:nvPicPr>
          <p:cNvPr id="187858736" name="image" descr="{&quot;templafy&quot;:{&quot;id&quot;:&quot;f4ca3820-4749-40d1-aad1-8f5a6abf7a8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26" name="text" descr="{&quot;templafy&quot;:{&quot;id&quot;:&quot;2f5b187c-d725-4bd1-9deb-73811f62cedb&quot;}}" title="UserProfile.Name">
            <a:extLst>
              <a:ext uri="{FF2B5EF4-FFF2-40B4-BE49-F238E27FC236}">
                <a16:creationId xmlns:a16="http://schemas.microsoft.com/office/drawing/2014/main" id="{91271CC7-CBC0-4401-960C-8A2FB37DB8CF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sp>
        <p:nvSpPr>
          <p:cNvPr id="27" name="text" descr="{&quot;templafy&quot;:{&quot;id&quot;:&quot;3e1cbbf7-4fe5-4f06-9f76-8cc2f4cb0612&quot;}}" hidden="1" title="Form.Manuel_dato">
            <a:extLst>
              <a:ext uri="{FF2B5EF4-FFF2-40B4-BE49-F238E27FC236}">
                <a16:creationId xmlns:a16="http://schemas.microsoft.com/office/drawing/2014/main" id="{EF71415C-C868-4AF0-9233-D343B0457C65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sp>
        <p:nvSpPr>
          <p:cNvPr id="13" name="Pladsholder til diasnummer 5">
            <a:extLst>
              <a:ext uri="{FF2B5EF4-FFF2-40B4-BE49-F238E27FC236}">
                <a16:creationId xmlns:a16="http://schemas.microsoft.com/office/drawing/2014/main" id="{1BD301D4-B1F3-4E2B-80B8-84716EBD7E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8" name="Billede 17" descr="Et billede, der indeholder tekst&#10;&#10;Automatisk genereret beskrivelse">
            <a:extLst>
              <a:ext uri="{FF2B5EF4-FFF2-40B4-BE49-F238E27FC236}">
                <a16:creationId xmlns:a16="http://schemas.microsoft.com/office/drawing/2014/main" id="{49F82D20-A24B-4ED3-9DC1-FA6201389A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97467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2A81C073-453A-442E-AB33-B3AAFBCE3378}"/>
              </a:ext>
            </a:extLst>
          </p:cNvPr>
          <p:cNvSpPr txBox="1">
            <a:spLocks/>
          </p:cNvSpPr>
          <p:nvPr userDrawn="1"/>
        </p:nvSpPr>
        <p:spPr>
          <a:xfrm>
            <a:off x="1367391" y="872716"/>
            <a:ext cx="10137524" cy="82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rgbClr val="1F4A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rgbClr val="1F4A60"/>
                </a:solidFill>
              </a:rPr>
              <a:t>Overskrift 28pt i max. to linjer </a:t>
            </a:r>
            <a:br>
              <a:rPr lang="da-DK" dirty="0">
                <a:solidFill>
                  <a:srgbClr val="1F4A60"/>
                </a:solidFill>
              </a:rPr>
            </a:br>
            <a:r>
              <a:rPr lang="da-DK" dirty="0">
                <a:solidFill>
                  <a:srgbClr val="1F4A60"/>
                </a:solidFill>
              </a:rPr>
              <a:t>teksten vokser opad</a:t>
            </a:r>
          </a:p>
        </p:txBody>
      </p:sp>
      <p:sp>
        <p:nvSpPr>
          <p:cNvPr id="20" name="Pladsholder til indhold 2">
            <a:extLst>
              <a:ext uri="{FF2B5EF4-FFF2-40B4-BE49-F238E27FC236}">
                <a16:creationId xmlns:a16="http://schemas.microsoft.com/office/drawing/2014/main" id="{56CBBFB9-5DF3-4D51-9DD2-8C662362C03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367999" y="1989138"/>
            <a:ext cx="10136614" cy="3996145"/>
          </a:xfrm>
        </p:spPr>
        <p:txBody>
          <a:bodyPr/>
          <a:lstStyle>
            <a:lvl1pPr marL="270000" indent="-270000">
              <a:defRPr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/>
            </a:lvl4pPr>
            <a:lvl5pPr marL="1656000" indent="-216000">
              <a:defRPr/>
            </a:lvl5pPr>
            <a:lvl6pPr marL="1998000" indent="-180000">
              <a:defRPr/>
            </a:lvl6pPr>
            <a:lvl7pPr marL="2358000" indent="-180000">
              <a:defRPr/>
            </a:lvl7pPr>
            <a:lvl8pPr marL="2718000" indent="-180000">
              <a:defRPr/>
            </a:lvl8pPr>
            <a:lvl9pPr marL="2718000" indent="-180000">
              <a:defRPr sz="1000"/>
            </a:lvl9pPr>
          </a:lstStyle>
          <a:p>
            <a:pPr lvl="0"/>
            <a:r>
              <a:rPr lang="da-DK" dirty="0"/>
              <a:t>Brødtekst 22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sp>
        <p:nvSpPr>
          <p:cNvPr id="24" name="Hvid dæk boks">
            <a:extLst>
              <a:ext uri="{FF2B5EF4-FFF2-40B4-BE49-F238E27FC236}">
                <a16:creationId xmlns:a16="http://schemas.microsoft.com/office/drawing/2014/main" id="{BE699CE1-E7E4-4383-BF65-18BBB39E3EA3}"/>
              </a:ext>
            </a:extLst>
          </p:cNvPr>
          <p:cNvSpPr/>
          <p:nvPr userDrawn="1"/>
        </p:nvSpPr>
        <p:spPr>
          <a:xfrm>
            <a:off x="1" y="0"/>
            <a:ext cx="12199488" cy="6858000"/>
          </a:xfrm>
          <a:prstGeom prst="rect">
            <a:avLst/>
          </a:prstGeom>
          <a:solidFill>
            <a:srgbClr val="1F4A60">
              <a:alpha val="2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pic>
        <p:nvPicPr>
          <p:cNvPr id="25" name="Billede 24" descr="Et billede, der indeholder tekst&#10;&#10;Automatisk genereret beskrivelse">
            <a:extLst>
              <a:ext uri="{FF2B5EF4-FFF2-40B4-BE49-F238E27FC236}">
                <a16:creationId xmlns:a16="http://schemas.microsoft.com/office/drawing/2014/main" id="{97DA42F0-4BB9-402E-88D8-366784AD08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2663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"/>
          <p:cNvSpPr>
            <a:spLocks noGrp="1"/>
          </p:cNvSpPr>
          <p:nvPr>
            <p:ph type="pic" sz="quarter" idx="11" hasCustomPrompt="1"/>
          </p:nvPr>
        </p:nvSpPr>
        <p:spPr>
          <a:xfrm>
            <a:off x="316883" y="316800"/>
            <a:ext cx="11562611" cy="55836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269386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3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  <p:sp>
        <p:nvSpPr>
          <p:cNvPr id="18" name="Pladsholder til indhold 2">
            <a:extLst>
              <a:ext uri="{FF2B5EF4-FFF2-40B4-BE49-F238E27FC236}">
                <a16:creationId xmlns:a16="http://schemas.microsoft.com/office/drawing/2014/main" id="{AE8B615A-4374-4B91-A191-D1DBD7C8C0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781924" y="2006069"/>
            <a:ext cx="4146723" cy="3831675"/>
          </a:xfrm>
        </p:spPr>
        <p:txBody>
          <a:bodyPr/>
          <a:lstStyle>
            <a:lvl1pPr marL="270000" indent="-270000">
              <a:defRPr baseline="0"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>
                <a:solidFill>
                  <a:srgbClr val="1F4A60"/>
                </a:solidFill>
              </a:defRPr>
            </a:lvl4pPr>
            <a:lvl5pPr marL="1656000" indent="-216000">
              <a:defRPr>
                <a:solidFill>
                  <a:srgbClr val="1F4A60"/>
                </a:solidFill>
              </a:defRPr>
            </a:lvl5pPr>
            <a:lvl6pPr marL="1998000" indent="-180000">
              <a:defRPr>
                <a:solidFill>
                  <a:srgbClr val="1F4A60"/>
                </a:solidFill>
              </a:defRPr>
            </a:lvl6pPr>
            <a:lvl7pPr marL="2358000" indent="-180000">
              <a:defRPr>
                <a:solidFill>
                  <a:srgbClr val="1F4A60"/>
                </a:solidFill>
              </a:defRPr>
            </a:lvl7pPr>
            <a:lvl8pPr marL="2718000" indent="-180000">
              <a:defRPr>
                <a:solidFill>
                  <a:srgbClr val="1F4A60"/>
                </a:solidFill>
              </a:defRPr>
            </a:lvl8pPr>
            <a:lvl9pPr marL="2538000" indent="0">
              <a:buNone/>
              <a:defRPr sz="1000">
                <a:solidFill>
                  <a:srgbClr val="1F4A60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</p:spTree>
    <p:extLst>
      <p:ext uri="{BB962C8B-B14F-4D97-AF65-F5344CB8AC3E}">
        <p14:creationId xmlns:p14="http://schemas.microsoft.com/office/powerpoint/2010/main" val="212463088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  <p:sp>
        <p:nvSpPr>
          <p:cNvPr id="18" name="Pladsholder til indhold 2">
            <a:extLst>
              <a:ext uri="{FF2B5EF4-FFF2-40B4-BE49-F238E27FC236}">
                <a16:creationId xmlns:a16="http://schemas.microsoft.com/office/drawing/2014/main" id="{AE8B615A-4374-4B91-A191-D1DBD7C8C0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781924" y="2006069"/>
            <a:ext cx="4146723" cy="3831675"/>
          </a:xfrm>
        </p:spPr>
        <p:txBody>
          <a:bodyPr/>
          <a:lstStyle>
            <a:lvl1pPr marL="270000" indent="-270000">
              <a:defRPr baseline="0"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>
                <a:solidFill>
                  <a:srgbClr val="1F4A60"/>
                </a:solidFill>
              </a:defRPr>
            </a:lvl4pPr>
            <a:lvl5pPr marL="1656000" indent="-216000">
              <a:defRPr>
                <a:solidFill>
                  <a:srgbClr val="1F4A60"/>
                </a:solidFill>
              </a:defRPr>
            </a:lvl5pPr>
            <a:lvl6pPr marL="1998000" indent="-180000">
              <a:defRPr>
                <a:solidFill>
                  <a:srgbClr val="1F4A60"/>
                </a:solidFill>
              </a:defRPr>
            </a:lvl6pPr>
            <a:lvl7pPr marL="2358000" indent="-180000">
              <a:defRPr>
                <a:solidFill>
                  <a:srgbClr val="1F4A60"/>
                </a:solidFill>
              </a:defRPr>
            </a:lvl7pPr>
            <a:lvl8pPr marL="2718000" indent="-180000">
              <a:defRPr>
                <a:solidFill>
                  <a:srgbClr val="1F4A60"/>
                </a:solidFill>
              </a:defRPr>
            </a:lvl8pPr>
            <a:lvl9pPr marL="2538000" indent="0">
              <a:buNone/>
              <a:defRPr sz="1000">
                <a:solidFill>
                  <a:srgbClr val="1F4A60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</p:spTree>
    <p:extLst>
      <p:ext uri="{BB962C8B-B14F-4D97-AF65-F5344CB8AC3E}">
        <p14:creationId xmlns:p14="http://schemas.microsoft.com/office/powerpoint/2010/main" val="97059166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  <p:sp>
        <p:nvSpPr>
          <p:cNvPr id="18" name="Pladsholder til indhold 2">
            <a:extLst>
              <a:ext uri="{FF2B5EF4-FFF2-40B4-BE49-F238E27FC236}">
                <a16:creationId xmlns:a16="http://schemas.microsoft.com/office/drawing/2014/main" id="{AE8B615A-4374-4B91-A191-D1DBD7C8C0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781924" y="2006069"/>
            <a:ext cx="4146723" cy="3831675"/>
          </a:xfrm>
        </p:spPr>
        <p:txBody>
          <a:bodyPr/>
          <a:lstStyle>
            <a:lvl1pPr marL="270000" indent="-270000">
              <a:defRPr baseline="0"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>
                <a:solidFill>
                  <a:srgbClr val="1F4A60"/>
                </a:solidFill>
              </a:defRPr>
            </a:lvl4pPr>
            <a:lvl5pPr marL="1656000" indent="-216000">
              <a:defRPr>
                <a:solidFill>
                  <a:srgbClr val="1F4A60"/>
                </a:solidFill>
              </a:defRPr>
            </a:lvl5pPr>
            <a:lvl6pPr marL="1998000" indent="-180000">
              <a:defRPr>
                <a:solidFill>
                  <a:srgbClr val="1F4A60"/>
                </a:solidFill>
              </a:defRPr>
            </a:lvl6pPr>
            <a:lvl7pPr marL="2358000" indent="-180000">
              <a:defRPr>
                <a:solidFill>
                  <a:srgbClr val="1F4A60"/>
                </a:solidFill>
              </a:defRPr>
            </a:lvl7pPr>
            <a:lvl8pPr marL="2718000" indent="-180000">
              <a:defRPr>
                <a:solidFill>
                  <a:srgbClr val="1F4A60"/>
                </a:solidFill>
              </a:defRPr>
            </a:lvl8pPr>
            <a:lvl9pPr marL="2538000" indent="0">
              <a:buNone/>
              <a:defRPr sz="1000">
                <a:solidFill>
                  <a:srgbClr val="1F4A60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</p:spTree>
    <p:extLst>
      <p:ext uri="{BB962C8B-B14F-4D97-AF65-F5344CB8AC3E}">
        <p14:creationId xmlns:p14="http://schemas.microsoft.com/office/powerpoint/2010/main" val="3315756990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  <p:sp>
        <p:nvSpPr>
          <p:cNvPr id="18" name="Pladsholder til indhold 2">
            <a:extLst>
              <a:ext uri="{FF2B5EF4-FFF2-40B4-BE49-F238E27FC236}">
                <a16:creationId xmlns:a16="http://schemas.microsoft.com/office/drawing/2014/main" id="{AE8B615A-4374-4B91-A191-D1DBD7C8C0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781924" y="2006069"/>
            <a:ext cx="4146723" cy="3831675"/>
          </a:xfrm>
        </p:spPr>
        <p:txBody>
          <a:bodyPr/>
          <a:lstStyle>
            <a:lvl1pPr marL="270000" indent="-270000">
              <a:defRPr baseline="0"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>
                <a:solidFill>
                  <a:srgbClr val="1F4A60"/>
                </a:solidFill>
              </a:defRPr>
            </a:lvl4pPr>
            <a:lvl5pPr marL="1656000" indent="-216000">
              <a:defRPr>
                <a:solidFill>
                  <a:srgbClr val="1F4A60"/>
                </a:solidFill>
              </a:defRPr>
            </a:lvl5pPr>
            <a:lvl6pPr marL="1998000" indent="-180000">
              <a:defRPr>
                <a:solidFill>
                  <a:srgbClr val="1F4A60"/>
                </a:solidFill>
              </a:defRPr>
            </a:lvl6pPr>
            <a:lvl7pPr marL="2358000" indent="-180000">
              <a:defRPr>
                <a:solidFill>
                  <a:srgbClr val="1F4A60"/>
                </a:solidFill>
              </a:defRPr>
            </a:lvl7pPr>
            <a:lvl8pPr marL="2718000" indent="-180000">
              <a:defRPr>
                <a:solidFill>
                  <a:srgbClr val="1F4A60"/>
                </a:solidFill>
              </a:defRPr>
            </a:lvl8pPr>
            <a:lvl9pPr marL="2538000" indent="0">
              <a:buNone/>
              <a:defRPr sz="1000">
                <a:solidFill>
                  <a:srgbClr val="1F4A60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</p:spTree>
    <p:extLst>
      <p:ext uri="{BB962C8B-B14F-4D97-AF65-F5344CB8AC3E}">
        <p14:creationId xmlns:p14="http://schemas.microsoft.com/office/powerpoint/2010/main" val="298729368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3" name="Pladsholder til billede 2">
            <a:extLst>
              <a:ext uri="{FF2B5EF4-FFF2-40B4-BE49-F238E27FC236}">
                <a16:creationId xmlns:a16="http://schemas.microsoft.com/office/drawing/2014/main" id="{E4E17A79-F37E-41DA-B54E-BEA03CB50E1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468271" y="0"/>
            <a:ext cx="4723729" cy="6858000"/>
          </a:xfrm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accent6"/>
                </a:solidFill>
              </a:defRPr>
            </a:lvl1pPr>
          </a:lstStyle>
          <a:p>
            <a:r>
              <a:rPr lang="da-DK" dirty="0"/>
              <a:t>Klik på ikon for at indsætte billede</a:t>
            </a:r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488048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dt billed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dsholder til billede 2">
            <a:extLst>
              <a:ext uri="{FF2B5EF4-FFF2-40B4-BE49-F238E27FC236}">
                <a16:creationId xmlns:a16="http://schemas.microsoft.com/office/drawing/2014/main" id="{C870A587-0A3A-42CA-9458-234900FF9E4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1"/>
            <a:ext cx="7468270" cy="6858000"/>
          </a:xfrm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accent6"/>
                </a:solidFill>
              </a:defRPr>
            </a:lvl1pPr>
          </a:lstStyle>
          <a:p>
            <a:r>
              <a:rPr lang="da-DK" dirty="0"/>
              <a:t>Klik på ikon for at indsætte billede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1ADD90D0-F6A3-4F85-A196-6E7F39CAA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84A09467-3A38-402F-9ED6-D89FA586B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3" name="Billede 12" descr="Et billede, der indeholder tekst&#10;&#10;Automatisk genereret beskrivelse">
            <a:extLst>
              <a:ext uri="{FF2B5EF4-FFF2-40B4-BE49-F238E27FC236}">
                <a16:creationId xmlns:a16="http://schemas.microsoft.com/office/drawing/2014/main" id="{2AC27FB6-1C90-4BD0-B5D7-007EE3A66C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89389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ast overskrift"/>
          <p:cNvSpPr txBox="1"/>
          <p:nvPr userDrawn="1"/>
        </p:nvSpPr>
        <p:spPr>
          <a:xfrm>
            <a:off x="539748" y="539751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6" name="Text Box 2">
            <a:extLst>
              <a:ext uri="{FF2B5EF4-FFF2-40B4-BE49-F238E27FC236}">
                <a16:creationId xmlns:a16="http://schemas.microsoft.com/office/drawing/2014/main" id="{9ED1F91D-CAD7-4803-B48E-26A1E9D134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58800" y="1479519"/>
            <a:ext cx="2280360" cy="38472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9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9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9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Ændre slide layouts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pilen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ed siden af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få vist en dropdown menu af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ige slides layout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dit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værende layout til et alternativt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</a:t>
            </a: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1 Forøg formindsk">
            <a:extLst>
              <a:ext uri="{FF2B5EF4-FFF2-40B4-BE49-F238E27FC236}">
                <a16:creationId xmlns:a16="http://schemas.microsoft.com/office/drawing/2014/main" id="{C1320887-C283-44C4-A258-0F4F30AB9B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19597" y="2564168"/>
            <a:ext cx="549328" cy="285228"/>
          </a:xfrm>
          <a:prstGeom prst="rect">
            <a:avLst/>
          </a:prstGeom>
        </p:spPr>
      </p:pic>
      <p:pic>
        <p:nvPicPr>
          <p:cNvPr id="20" name="3 Layout">
            <a:extLst>
              <a:ext uri="{FF2B5EF4-FFF2-40B4-BE49-F238E27FC236}">
                <a16:creationId xmlns:a16="http://schemas.microsoft.com/office/drawing/2014/main" id="{65C4A96F-1A4B-422A-A364-36A11A350F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6944" r="2272" b="69429"/>
          <a:stretch/>
        </p:blipFill>
        <p:spPr>
          <a:xfrm>
            <a:off x="2748981" y="3277001"/>
            <a:ext cx="593368" cy="192211"/>
          </a:xfrm>
          <a:prstGeom prst="rect">
            <a:avLst/>
          </a:prstGeom>
        </p:spPr>
      </p:pic>
      <p:pic>
        <p:nvPicPr>
          <p:cNvPr id="21" name="4 Nulstil">
            <a:extLst>
              <a:ext uri="{FF2B5EF4-FFF2-40B4-BE49-F238E27FC236}">
                <a16:creationId xmlns:a16="http://schemas.microsoft.com/office/drawing/2014/main" id="{B4442F1F-206C-4948-A2CE-402C8A7844F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48981" y="4655118"/>
            <a:ext cx="547241" cy="197798"/>
          </a:xfrm>
          <a:prstGeom prst="rect">
            <a:avLst/>
          </a:prstGeom>
        </p:spPr>
      </p:pic>
      <p:sp>
        <p:nvSpPr>
          <p:cNvPr id="22" name="Text Box 3">
            <a:extLst>
              <a:ext uri="{FF2B5EF4-FFF2-40B4-BE49-F238E27FC236}">
                <a16:creationId xmlns:a16="http://schemas.microsoft.com/office/drawing/2014/main" id="{AC472DCD-3E25-4024-9053-0797118E219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1331" y="1479519"/>
            <a:ext cx="2160798" cy="449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 eller hvilken som helst anden pladsholder, klik på pladsholderens kant. TIP: Hold Shift nede og klik på pladsholderen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 Indsæt firma billede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Klik på den bl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fy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I drop ned menuen, vælg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da-DK" altLang="da-DK" sz="900" b="0" i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 Templafy vinduet i højre side af skærmen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 Browse efter andre billed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Tools-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appen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 findes under firma fanen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browse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ter et billede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. Indsæt et kopieret billede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Tools-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appen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 findes under firma fanen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te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indsætte det kopierede billede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1F9AF259-CD67-4F52-9A1F-EC718D03CD3D}"/>
              </a:ext>
            </a:extLst>
          </p:cNvPr>
          <p:cNvGrpSpPr/>
          <p:nvPr userDrawn="1"/>
        </p:nvGrpSpPr>
        <p:grpSpPr>
          <a:xfrm>
            <a:off x="6241457" y="3341699"/>
            <a:ext cx="740398" cy="934814"/>
            <a:chOff x="6398620" y="3815586"/>
            <a:chExt cx="740398" cy="934814"/>
          </a:xfrm>
        </p:grpSpPr>
        <p:pic>
          <p:nvPicPr>
            <p:cNvPr id="24" name="6 Crop">
              <a:extLst>
                <a:ext uri="{FF2B5EF4-FFF2-40B4-BE49-F238E27FC236}">
                  <a16:creationId xmlns:a16="http://schemas.microsoft.com/office/drawing/2014/main" id="{9CB1AB9A-B60D-4B1E-9CBF-74CFC0E384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398620" y="3815586"/>
              <a:ext cx="337400" cy="321707"/>
            </a:xfrm>
            <a:prstGeom prst="rect">
              <a:avLst/>
            </a:prstGeom>
          </p:spPr>
        </p:pic>
        <p:pic>
          <p:nvPicPr>
            <p:cNvPr id="25" name="Billede 24">
              <a:extLst>
                <a:ext uri="{FF2B5EF4-FFF2-40B4-BE49-F238E27FC236}">
                  <a16:creationId xmlns:a16="http://schemas.microsoft.com/office/drawing/2014/main" id="{85D034CD-5AB5-4128-B1ED-C46433151D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1304" t="11451" r="30180" b="26335"/>
            <a:stretch/>
          </p:blipFill>
          <p:spPr>
            <a:xfrm>
              <a:off x="6442770" y="4118189"/>
              <a:ext cx="696248" cy="632211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28" name="Gruppe 27">
            <a:extLst>
              <a:ext uri="{FF2B5EF4-FFF2-40B4-BE49-F238E27FC236}">
                <a16:creationId xmlns:a16="http://schemas.microsoft.com/office/drawing/2014/main" id="{6E0524AF-02C9-42C0-A17F-A5980D805B44}"/>
              </a:ext>
            </a:extLst>
          </p:cNvPr>
          <p:cNvGrpSpPr/>
          <p:nvPr userDrawn="1"/>
        </p:nvGrpSpPr>
        <p:grpSpPr>
          <a:xfrm>
            <a:off x="6234489" y="4380694"/>
            <a:ext cx="740397" cy="929593"/>
            <a:chOff x="6391652" y="4854581"/>
            <a:chExt cx="740397" cy="929593"/>
          </a:xfrm>
        </p:grpSpPr>
        <p:pic>
          <p:nvPicPr>
            <p:cNvPr id="29" name="6 Crop">
              <a:extLst>
                <a:ext uri="{FF2B5EF4-FFF2-40B4-BE49-F238E27FC236}">
                  <a16:creationId xmlns:a16="http://schemas.microsoft.com/office/drawing/2014/main" id="{9F98BB02-E51F-4746-B69E-9C711482649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391652" y="4854581"/>
              <a:ext cx="337400" cy="321707"/>
            </a:xfrm>
            <a:prstGeom prst="rect">
              <a:avLst/>
            </a:prstGeom>
          </p:spPr>
        </p:pic>
        <p:pic>
          <p:nvPicPr>
            <p:cNvPr id="36" name="Billede 35">
              <a:extLst>
                <a:ext uri="{FF2B5EF4-FFF2-40B4-BE49-F238E27FC236}">
                  <a16:creationId xmlns:a16="http://schemas.microsoft.com/office/drawing/2014/main" id="{F03B3F55-2CD4-4955-87F4-7332ABF9C31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l="1152" t="11676" r="31017" b="26411"/>
            <a:stretch/>
          </p:blipFill>
          <p:spPr>
            <a:xfrm>
              <a:off x="6442770" y="5155024"/>
              <a:ext cx="689279" cy="629150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37" name="Gruppe 36">
            <a:extLst>
              <a:ext uri="{FF2B5EF4-FFF2-40B4-BE49-F238E27FC236}">
                <a16:creationId xmlns:a16="http://schemas.microsoft.com/office/drawing/2014/main" id="{570C9D30-5E46-4A8F-8AF8-0A3A35FF4070}"/>
              </a:ext>
            </a:extLst>
          </p:cNvPr>
          <p:cNvGrpSpPr/>
          <p:nvPr userDrawn="1"/>
        </p:nvGrpSpPr>
        <p:grpSpPr>
          <a:xfrm>
            <a:off x="6285608" y="2237665"/>
            <a:ext cx="676669" cy="997704"/>
            <a:chOff x="6442771" y="2574072"/>
            <a:chExt cx="676669" cy="997704"/>
          </a:xfrm>
        </p:grpSpPr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6459B022-C4F9-472E-A75D-684BCC545A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9" name="Billede 38">
              <a:extLst>
                <a:ext uri="{FF2B5EF4-FFF2-40B4-BE49-F238E27FC236}">
                  <a16:creationId xmlns:a16="http://schemas.microsoft.com/office/drawing/2014/main" id="{6676C55A-9D05-4855-A873-5DA79C75422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0" name="Text Box 3">
            <a:extLst>
              <a:ext uri="{FF2B5EF4-FFF2-40B4-BE49-F238E27FC236}">
                <a16:creationId xmlns:a16="http://schemas.microsoft.com/office/drawing/2014/main" id="{3D524C37-9B03-4C43-9C67-F15B8611C77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82683" y="1479519"/>
            <a:ext cx="2566254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indsætte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nyt, kan billedet lægge sig foran tekst og grafik. Hvis dette sker, højreklik på billedet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å det slår igennem på alle slides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o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ekst kommer fra Templafy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</a:t>
            </a:r>
          </a:p>
        </p:txBody>
      </p:sp>
      <p:pic>
        <p:nvPicPr>
          <p:cNvPr id="41" name="6 Beskær">
            <a:extLst>
              <a:ext uri="{FF2B5EF4-FFF2-40B4-BE49-F238E27FC236}">
                <a16:creationId xmlns:a16="http://schemas.microsoft.com/office/drawing/2014/main" id="{6D747865-747C-4723-A63A-8AA2425D45D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085312" y="1658669"/>
            <a:ext cx="337400" cy="321707"/>
          </a:xfrm>
          <a:prstGeom prst="rect">
            <a:avLst/>
          </a:prstGeom>
        </p:spPr>
      </p:pic>
      <p:pic>
        <p:nvPicPr>
          <p:cNvPr id="42" name="7 Skalér billede">
            <a:extLst>
              <a:ext uri="{FF2B5EF4-FFF2-40B4-BE49-F238E27FC236}">
                <a16:creationId xmlns:a16="http://schemas.microsoft.com/office/drawing/2014/main" id="{5183FB2B-6E9E-41FC-88C0-479135A148CA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085312" y="2019309"/>
            <a:ext cx="359695" cy="335309"/>
          </a:xfrm>
          <a:prstGeom prst="rect">
            <a:avLst/>
          </a:prstGeom>
        </p:spPr>
      </p:pic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F5A184B9-90D9-4973-987E-71621E0A29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D015F341-CDF3-4F74-8F12-0BEE09574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8D0652-AB80-46FC-A21E-38F4C38953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721548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Èn tekst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1367391" y="872716"/>
            <a:ext cx="10137524" cy="828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Overskrift 28pt i max. to linjer </a:t>
            </a:r>
            <a:br>
              <a:rPr lang="da-DK" dirty="0"/>
            </a:br>
            <a:r>
              <a:rPr lang="da-DK" dirty="0"/>
              <a:t>teksten vokser opad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 hasCustomPrompt="1"/>
          </p:nvPr>
        </p:nvSpPr>
        <p:spPr>
          <a:xfrm>
            <a:off x="1367999" y="1989138"/>
            <a:ext cx="10136614" cy="3996145"/>
          </a:xfrm>
        </p:spPr>
        <p:txBody>
          <a:bodyPr/>
          <a:lstStyle>
            <a:lvl1pPr marL="270000" indent="-270000">
              <a:defRPr/>
            </a:lvl1pPr>
            <a:lvl2pPr marL="630000" indent="-270000">
              <a:defRPr/>
            </a:lvl2pPr>
            <a:lvl3pPr marL="936000" indent="-234000">
              <a:defRPr/>
            </a:lvl3pPr>
            <a:lvl4pPr marL="1296000" indent="-216000">
              <a:defRPr/>
            </a:lvl4pPr>
            <a:lvl5pPr marL="1656000" indent="-216000">
              <a:defRPr/>
            </a:lvl5pPr>
            <a:lvl6pPr marL="1998000" indent="-180000">
              <a:defRPr/>
            </a:lvl6pPr>
            <a:lvl7pPr marL="2358000" indent="-180000">
              <a:defRPr/>
            </a:lvl7pPr>
            <a:lvl8pPr marL="2718000" indent="-180000">
              <a:defRPr/>
            </a:lvl8pPr>
            <a:lvl9pPr marL="2718000" indent="-180000">
              <a:defRPr sz="1000"/>
            </a:lvl9pPr>
          </a:lstStyle>
          <a:p>
            <a:pPr lvl="0"/>
            <a:r>
              <a:rPr lang="da-DK" dirty="0"/>
              <a:t>Brødtekst 22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sp>
        <p:nvSpPr>
          <p:cNvPr id="7" name="text" descr="{&quot;templafy&quot;:{&quot;id&quot;:&quot;e45bdb66-735d-47e2-a0dd-234e7837c26f&quot;}}" hidden="1" title="UserProfile.CenterFreeText">
            <a:extLst>
              <a:ext uri="{FF2B5EF4-FFF2-40B4-BE49-F238E27FC236}">
                <a16:creationId xmlns:a16="http://schemas.microsoft.com/office/drawing/2014/main" id="{E53FC353-2F0F-4922-821A-1A51D53892CD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9" name="text" descr="{&quot;templafy&quot;:{&quot;id&quot;:&quot;4dda4036-98b2-42a4-a2c2-93edfa66ef6d&quot;}}" title="Form.PresentationTitle">
            <a:extLst>
              <a:ext uri="{FF2B5EF4-FFF2-40B4-BE49-F238E27FC236}">
                <a16:creationId xmlns:a16="http://schemas.microsoft.com/office/drawing/2014/main" id="{53BDA2D0-B22F-42B1-A4C9-3F000756EB91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pic>
        <p:nvPicPr>
          <p:cNvPr id="1123864823" name="image" descr="{&quot;templafy&quot;:{&quot;id&quot;:&quot;fd6fe772-42fe-4deb-970d-ff910f24d29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22" name="text" descr="{&quot;templafy&quot;:{&quot;id&quot;:&quot;e3aec226-ce87-4f1e-9730-49c43d4887b8&quot;}}" title="UserProfile.Name">
            <a:extLst>
              <a:ext uri="{FF2B5EF4-FFF2-40B4-BE49-F238E27FC236}">
                <a16:creationId xmlns:a16="http://schemas.microsoft.com/office/drawing/2014/main" id="{2436B9E0-97E8-428C-B474-A1B8FBC4D037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sp>
        <p:nvSpPr>
          <p:cNvPr id="23" name="text" descr="{&quot;templafy&quot;:{&quot;id&quot;:&quot;578e9232-c971-4db3-9317-b0ca24de66d0&quot;}}" hidden="1" title="Form.Manuel_dato">
            <a:extLst>
              <a:ext uri="{FF2B5EF4-FFF2-40B4-BE49-F238E27FC236}">
                <a16:creationId xmlns:a16="http://schemas.microsoft.com/office/drawing/2014/main" id="{D852104B-31C3-45BB-B8A2-2EFD81BDA39E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pic>
        <p:nvPicPr>
          <p:cNvPr id="1500417958" name="image" descr="{&quot;templafy&quot;:{&quot;id&quot;:&quot;849d8d41-4ac2-45dd-8ba1-0e79b8c5810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7600" y="97200"/>
            <a:ext cx="2178000" cy="684000"/>
          </a:xfrm>
          <a:prstGeom prst="rect">
            <a:avLst/>
          </a:prstGeom>
        </p:spPr>
      </p:pic>
      <p:pic>
        <p:nvPicPr>
          <p:cNvPr id="4" name="Billede 3" descr="Et billede, der indeholder tekst&#10;&#10;Automatisk genereret beskrivelse">
            <a:extLst>
              <a:ext uri="{FF2B5EF4-FFF2-40B4-BE49-F238E27FC236}">
                <a16:creationId xmlns:a16="http://schemas.microsoft.com/office/drawing/2014/main" id="{AB4F20AF-CBD4-433C-B202-AC922799AA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2993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1" hasCustomPrompt="1"/>
          </p:nvPr>
        </p:nvSpPr>
        <p:spPr>
          <a:xfrm>
            <a:off x="316883" y="316800"/>
            <a:ext cx="5646270" cy="55836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233223" y="316800"/>
            <a:ext cx="5646270" cy="55836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0590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4">
          <p15:clr>
            <a:srgbClr val="A4A3A4"/>
          </p15:clr>
        </p15:guide>
        <p15:guide id="2" pos="3754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1" hasCustomPrompt="1"/>
          </p:nvPr>
        </p:nvSpPr>
        <p:spPr>
          <a:xfrm>
            <a:off x="316883" y="316802"/>
            <a:ext cx="5646270" cy="26532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316883" y="3237375"/>
            <a:ext cx="5646270" cy="26532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33223" y="316800"/>
            <a:ext cx="5646270" cy="55836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9" name="Footer Placeholder 8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6231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2">
          <p15:clr>
            <a:srgbClr val="A4A3A4"/>
          </p15:clr>
        </p15:guide>
        <p15:guide id="2" pos="3755">
          <p15:clr>
            <a:srgbClr val="A4A3A4"/>
          </p15:clr>
        </p15:guide>
        <p15:guide id="3" orient="horz" pos="2035">
          <p15:clr>
            <a:srgbClr val="A4A3A4"/>
          </p15:clr>
        </p15:guide>
        <p15:guide id="4" orient="horz" pos="1869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>
          <a:xfrm>
            <a:off x="316883" y="316800"/>
            <a:ext cx="5646270" cy="55836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233223" y="316802"/>
            <a:ext cx="5646270" cy="26532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33223" y="3237375"/>
            <a:ext cx="5646270" cy="26532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9" name="Footer Placeholder 8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0716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2">
          <p15:clr>
            <a:srgbClr val="A4A3A4"/>
          </p15:clr>
        </p15:guide>
        <p15:guide id="2" pos="3755">
          <p15:clr>
            <a:srgbClr val="A4A3A4"/>
          </p15:clr>
        </p15:guide>
        <p15:guide id="3" orient="horz" pos="2035">
          <p15:clr>
            <a:srgbClr val="A4A3A4"/>
          </p15:clr>
        </p15:guide>
        <p15:guide id="4" orient="horz" pos="1869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315996" y="315914"/>
            <a:ext cx="11560010" cy="6220354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22963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vid baggrund"/>
          <p:cNvSpPr/>
          <p:nvPr userDrawn="1"/>
        </p:nvSpPr>
        <p:spPr bwMode="auto">
          <a:xfrm>
            <a:off x="6" y="0"/>
            <a:ext cx="12192000" cy="5897563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96" tIns="45646" rIns="91296" bIns="45646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3027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597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Text Placeholder 61"/>
          <p:cNvSpPr>
            <a:spLocks noGrp="1"/>
          </p:cNvSpPr>
          <p:nvPr>
            <p:ph type="body" sz="quarter" idx="16" hasCustomPrompt="1"/>
          </p:nvPr>
        </p:nvSpPr>
        <p:spPr>
          <a:xfrm>
            <a:off x="1846421" y="1412776"/>
            <a:ext cx="8499157" cy="3744416"/>
          </a:xfrm>
        </p:spPr>
        <p:txBody>
          <a:bodyPr/>
          <a:lstStyle>
            <a:lvl1pPr marL="431351" indent="-431351" algn="ctr">
              <a:lnSpc>
                <a:spcPct val="107000"/>
              </a:lnSpc>
              <a:buSzPct val="250000"/>
              <a:buFontTx/>
              <a:buBlip>
                <a:blip r:embed="rId2"/>
              </a:buBlip>
              <a:defRPr sz="2796">
                <a:latin typeface="Georgia" panose="02040502050405020303" pitchFamily="18" charset="0"/>
              </a:defRPr>
            </a:lvl1pPr>
            <a:lvl2pPr marL="215677" indent="-215677" algn="ctr">
              <a:lnSpc>
                <a:spcPct val="99000"/>
              </a:lnSpc>
              <a:buFont typeface="Arial" panose="020B0604020202020204" pitchFamily="34" charset="0"/>
              <a:buChar char="-"/>
              <a:defRPr sz="1997" cap="all" baseline="0">
                <a:latin typeface="Georgia" panose="02040502050405020303" pitchFamily="18" charset="0"/>
              </a:defRPr>
            </a:lvl2pPr>
            <a:lvl3pPr algn="ctr">
              <a:buFontTx/>
              <a:buNone/>
              <a:defRPr/>
            </a:lvl3pPr>
          </a:lstStyle>
          <a:p>
            <a:pPr lvl="0"/>
            <a:r>
              <a:rPr lang="en-GB" dirty="0"/>
              <a:t>Click to add Quote text, for next level ENTER and TAB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91627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vid baggrund"/>
          <p:cNvSpPr/>
          <p:nvPr userDrawn="1"/>
        </p:nvSpPr>
        <p:spPr bwMode="auto">
          <a:xfrm>
            <a:off x="6" y="0"/>
            <a:ext cx="12192000" cy="5897563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96" tIns="45646" rIns="91296" bIns="45646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3027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597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15995" y="230402"/>
            <a:ext cx="11566212" cy="752400"/>
          </a:xfrm>
        </p:spPr>
        <p:txBody>
          <a:bodyPr anchor="t" anchorCtr="0"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10" name="Footer Placeholder 9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998849" y="1853462"/>
            <a:ext cx="6266328" cy="2725288"/>
          </a:xfrm>
        </p:spPr>
        <p:txBody>
          <a:bodyPr/>
          <a:lstStyle>
            <a:lvl1pPr marL="431351" indent="-431351" algn="ctr">
              <a:lnSpc>
                <a:spcPct val="107000"/>
              </a:lnSpc>
              <a:buSzPct val="250000"/>
              <a:buFontTx/>
              <a:buBlip>
                <a:blip r:embed="rId2"/>
              </a:buBlip>
              <a:defRPr sz="2796">
                <a:latin typeface="Georgia" panose="02040502050405020303" pitchFamily="18" charset="0"/>
              </a:defRPr>
            </a:lvl1pPr>
            <a:lvl2pPr marL="215677" indent="-215677" algn="ctr">
              <a:lnSpc>
                <a:spcPct val="99000"/>
              </a:lnSpc>
              <a:buFont typeface="Arial" panose="020B0604020202020204" pitchFamily="34" charset="0"/>
              <a:buChar char="-"/>
              <a:defRPr sz="1997" cap="all" baseline="0">
                <a:latin typeface="Georgia" panose="02040502050405020303" pitchFamily="18" charset="0"/>
              </a:defRPr>
            </a:lvl2pPr>
            <a:lvl3pPr marL="575135" indent="0">
              <a:buNone/>
              <a:defRPr/>
            </a:lvl3pPr>
          </a:lstStyle>
          <a:p>
            <a:pPr lvl="0"/>
            <a:r>
              <a:rPr lang="en-GB" dirty="0"/>
              <a:t>Click to add Quote text, for next level ENTER and TAB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46775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"/>
          <p:cNvSpPr>
            <a:spLocks noGrp="1"/>
          </p:cNvSpPr>
          <p:nvPr>
            <p:ph sz="quarter" idx="12"/>
          </p:nvPr>
        </p:nvSpPr>
        <p:spPr>
          <a:xfrm>
            <a:off x="328698" y="328615"/>
            <a:ext cx="11553659" cy="621347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82274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6" name="TextBox 5"/>
          <p:cNvSpPr txBox="1"/>
          <p:nvPr userDrawn="1"/>
        </p:nvSpPr>
        <p:spPr>
          <a:xfrm>
            <a:off x="-2160917" y="1022476"/>
            <a:ext cx="2013173" cy="4734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Ændr 2. linje i overskriften </a:t>
            </a:r>
            <a:b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til AU Passata Light</a:t>
            </a:r>
            <a:endParaRPr lang="en-GB" sz="4791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9645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766019" y="1340769"/>
            <a:ext cx="1224455" cy="504056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96" tIns="45646" rIns="91296" bIns="45646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3027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597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8" name="Slide Number Placeholder 7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59791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arvet baggrund"/>
          <p:cNvSpPr/>
          <p:nvPr userDrawn="1"/>
        </p:nvSpPr>
        <p:spPr>
          <a:xfrm>
            <a:off x="6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91" dirty="0"/>
          </a:p>
        </p:txBody>
      </p:sp>
      <p:pic>
        <p:nvPicPr>
          <p:cNvPr id="4" name="Logo BS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881" y="2229268"/>
            <a:ext cx="2398246" cy="2402069"/>
          </a:xfrm>
          <a:prstGeom prst="rect">
            <a:avLst/>
          </a:prstGeom>
        </p:spPr>
      </p:pic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2"/>
            <a:ext cx="0" cy="770869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20489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illede og 2/3 tekst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F414A781-E1EA-496D-8900-B19CC30039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Overskrift 28pt i max. to linjer </a:t>
            </a:r>
            <a:br>
              <a:rPr lang="da-DK" dirty="0"/>
            </a:br>
            <a:r>
              <a:rPr lang="da-DK" dirty="0"/>
              <a:t>teksten vokser opad</a:t>
            </a:r>
            <a:endParaRPr lang="en-GB" dirty="0"/>
          </a:p>
        </p:txBody>
      </p:sp>
      <p:sp>
        <p:nvSpPr>
          <p:cNvPr id="25" name="Pladsholder til billede 2"/>
          <p:cNvSpPr>
            <a:spLocks noGrp="1"/>
          </p:cNvSpPr>
          <p:nvPr>
            <p:ph type="pic" sz="quarter" idx="16" hasCustomPrompt="1"/>
          </p:nvPr>
        </p:nvSpPr>
        <p:spPr>
          <a:xfrm>
            <a:off x="1367999" y="1974850"/>
            <a:ext cx="3503865" cy="4118446"/>
          </a:xfrm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accent6"/>
                </a:solidFill>
              </a:defRPr>
            </a:lvl1pPr>
          </a:lstStyle>
          <a:p>
            <a:r>
              <a:rPr lang="da-DK" dirty="0"/>
              <a:t>Klik på ikon for at indsætte billede</a:t>
            </a:r>
          </a:p>
        </p:txBody>
      </p:sp>
      <p:sp>
        <p:nvSpPr>
          <p:cNvPr id="17" name="Pladsholder til indhold 4"/>
          <p:cNvSpPr>
            <a:spLocks noGrp="1"/>
          </p:cNvSpPr>
          <p:nvPr>
            <p:ph sz="quarter" idx="14" hasCustomPrompt="1"/>
          </p:nvPr>
        </p:nvSpPr>
        <p:spPr>
          <a:xfrm>
            <a:off x="5147999" y="1989138"/>
            <a:ext cx="6356613" cy="4104158"/>
          </a:xfrm>
        </p:spPr>
        <p:txBody>
          <a:bodyPr/>
          <a:lstStyle>
            <a:lvl1pPr marL="126000" indent="-126000">
              <a:defRPr sz="1800"/>
            </a:lvl1pPr>
            <a:lvl2pPr marL="450000" indent="-108000">
              <a:defRPr sz="1600"/>
            </a:lvl2pPr>
            <a:lvl3pPr marL="810000" indent="-108000">
              <a:defRPr sz="1400"/>
            </a:lvl3pPr>
            <a:lvl4pPr marL="1152000" indent="-90000">
              <a:defRPr sz="1200"/>
            </a:lvl4pPr>
            <a:lvl5pPr marL="1512000" indent="-90000">
              <a:defRPr sz="1000"/>
            </a:lvl5pPr>
            <a:lvl6pPr marL="1872000">
              <a:defRPr sz="1000"/>
            </a:lvl6pPr>
            <a:lvl7pPr marL="2232000">
              <a:defRPr sz="1000"/>
            </a:lvl7pPr>
            <a:lvl8pPr marL="2592000">
              <a:defRPr/>
            </a:lvl8pPr>
            <a:lvl9pPr marL="2952000">
              <a:defRPr sz="1000"/>
            </a:lvl9pPr>
          </a:lstStyle>
          <a:p>
            <a:pPr lvl="0"/>
            <a:r>
              <a:rPr lang="da-DK" dirty="0"/>
              <a:t>Brødtekst 18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 niveau</a:t>
            </a:r>
          </a:p>
          <a:p>
            <a:pPr lvl="6"/>
            <a:r>
              <a:rPr lang="da-DK" dirty="0"/>
              <a:t>7 niveau</a:t>
            </a:r>
          </a:p>
          <a:p>
            <a:pPr lvl="7"/>
            <a:r>
              <a:rPr lang="da-DK" dirty="0"/>
              <a:t>8 niveau</a:t>
            </a:r>
          </a:p>
          <a:p>
            <a:pPr lvl="8"/>
            <a:r>
              <a:rPr lang="da-DK" dirty="0"/>
              <a:t>9 niveau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C2AF5AB9-1CB1-496F-9EC0-8AEA03F4AD6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920C77BC-0619-4B83-AE63-F3B07DBCC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ext" descr="{&quot;templafy&quot;:{&quot;id&quot;:&quot;4bfe733f-1894-4d64-91af-8de892e1456d&quot;}}" hidden="1" title="UserProfile.CenterFreeText">
            <a:extLst>
              <a:ext uri="{FF2B5EF4-FFF2-40B4-BE49-F238E27FC236}">
                <a16:creationId xmlns:a16="http://schemas.microsoft.com/office/drawing/2014/main" id="{4A81FBCC-2D00-40FA-A91D-C1C678FFE578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/>
          </a:p>
        </p:txBody>
      </p:sp>
      <p:sp>
        <p:nvSpPr>
          <p:cNvPr id="12" name="text" descr="{&quot;templafy&quot;:{&quot;id&quot;:&quot;7d3b08f7-7800-4f37-be1d-a17b15e2d5b0&quot;}}" title="Form.PresentationTitle">
            <a:extLst>
              <a:ext uri="{FF2B5EF4-FFF2-40B4-BE49-F238E27FC236}">
                <a16:creationId xmlns:a16="http://schemas.microsoft.com/office/drawing/2014/main" id="{27955C15-87DF-44D3-BB7F-46DF20BDC193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pic>
        <p:nvPicPr>
          <p:cNvPr id="187858736" name="image" descr="{&quot;templafy&quot;:{&quot;id&quot;:&quot;f4ca3820-4749-40d1-aad1-8f5a6abf7a8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26" name="text" descr="{&quot;templafy&quot;:{&quot;id&quot;:&quot;2f5b187c-d725-4bd1-9deb-73811f62cedb&quot;}}" title="UserProfile.Name">
            <a:extLst>
              <a:ext uri="{FF2B5EF4-FFF2-40B4-BE49-F238E27FC236}">
                <a16:creationId xmlns:a16="http://schemas.microsoft.com/office/drawing/2014/main" id="{91271CC7-CBC0-4401-960C-8A2FB37DB8CF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sp>
        <p:nvSpPr>
          <p:cNvPr id="27" name="text" descr="{&quot;templafy&quot;:{&quot;id&quot;:&quot;3e1cbbf7-4fe5-4f06-9f76-8cc2f4cb0612&quot;}}" hidden="1" title="Form.Manuel_dato">
            <a:extLst>
              <a:ext uri="{FF2B5EF4-FFF2-40B4-BE49-F238E27FC236}">
                <a16:creationId xmlns:a16="http://schemas.microsoft.com/office/drawing/2014/main" id="{EF71415C-C868-4AF0-9233-D343B0457C65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bg1"/>
              </a:solidFill>
            </a:endParaRPr>
          </a:p>
        </p:txBody>
      </p:sp>
      <p:sp>
        <p:nvSpPr>
          <p:cNvPr id="13" name="Pladsholder til diasnummer 5">
            <a:extLst>
              <a:ext uri="{FF2B5EF4-FFF2-40B4-BE49-F238E27FC236}">
                <a16:creationId xmlns:a16="http://schemas.microsoft.com/office/drawing/2014/main" id="{1BD301D4-B1F3-4E2B-80B8-84716EBD7E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8" name="Billede 17" descr="Et billede, der indeholder tekst&#10;&#10;Automatisk genereret beskrivelse">
            <a:extLst>
              <a:ext uri="{FF2B5EF4-FFF2-40B4-BE49-F238E27FC236}">
                <a16:creationId xmlns:a16="http://schemas.microsoft.com/office/drawing/2014/main" id="{49F82D20-A24B-4ED3-9DC1-FA6201389A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2148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arvet baggrund"/>
          <p:cNvSpPr/>
          <p:nvPr userDrawn="1"/>
        </p:nvSpPr>
        <p:spPr>
          <a:xfrm>
            <a:off x="6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91" dirty="0"/>
          </a:p>
        </p:txBody>
      </p:sp>
      <p:pic>
        <p:nvPicPr>
          <p:cNvPr id="7" name="Logo BS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660" y="2520002"/>
            <a:ext cx="1650805" cy="1653437"/>
          </a:xfrm>
          <a:prstGeom prst="rect">
            <a:avLst/>
          </a:prstGeom>
        </p:spPr>
      </p:pic>
      <p:sp>
        <p:nvSpPr>
          <p:cNvPr id="6" name="OFF_logo2Computed"/>
          <p:cNvSpPr txBox="1">
            <a:spLocks noChangeArrowheads="1"/>
          </p:cNvSpPr>
          <p:nvPr userDrawn="1"/>
        </p:nvSpPr>
        <p:spPr bwMode="auto">
          <a:xfrm>
            <a:off x="4393149" y="2520003"/>
            <a:ext cx="7482862" cy="869704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492415" rIns="0" bIns="0">
            <a:spAutoFit/>
          </a:bodyPr>
          <a:lstStyle/>
          <a:p>
            <a:pPr>
              <a:lnSpc>
                <a:spcPct val="105000"/>
              </a:lnSpc>
              <a:defRPr/>
            </a:pPr>
            <a:endParaRPr lang="en-GB" sz="2297" b="0" cap="all" spc="200" baseline="0" dirty="0">
              <a:solidFill>
                <a:schemeClr val="bg1"/>
              </a:solidFill>
              <a:latin typeface="AU Passata" panose="020B0503030502030804" pitchFamily="34" charset="0"/>
            </a:endParaRPr>
          </a:p>
        </p:txBody>
      </p:sp>
      <p:sp>
        <p:nvSpPr>
          <p:cNvPr id="10" name="OFF_logo1Computed"/>
          <p:cNvSpPr txBox="1">
            <a:spLocks noChangeArrowheads="1"/>
          </p:cNvSpPr>
          <p:nvPr userDrawn="1"/>
        </p:nvSpPr>
        <p:spPr bwMode="auto">
          <a:xfrm>
            <a:off x="4393149" y="2545402"/>
            <a:ext cx="7482862" cy="1610344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22205" rIns="0" bIns="0">
            <a:spAutoFit/>
          </a:bodyPr>
          <a:lstStyle/>
          <a:p>
            <a:pPr>
              <a:lnSpc>
                <a:spcPct val="105000"/>
              </a:lnSpc>
              <a:defRPr/>
            </a:pPr>
            <a:endParaRPr lang="en-GB" sz="2297" b="1" cap="all" spc="100" baseline="0" dirty="0">
              <a:solidFill>
                <a:schemeClr val="bg1"/>
              </a:solidFill>
              <a:latin typeface="AU Passata" panose="020B0503030502030804" pitchFamily="34" charset="0"/>
            </a:endParaRPr>
          </a:p>
          <a:p>
            <a:pPr>
              <a:lnSpc>
                <a:spcPct val="105000"/>
              </a:lnSpc>
              <a:defRPr/>
            </a:pPr>
            <a:endParaRPr lang="en-GB" sz="2297" b="1" cap="all" spc="100" baseline="0" dirty="0">
              <a:solidFill>
                <a:schemeClr val="bg1"/>
              </a:solidFill>
              <a:latin typeface="AU Passata" panose="020B0503030502030804" pitchFamily="34" charset="0"/>
            </a:endParaRPr>
          </a:p>
          <a:p>
            <a:pPr>
              <a:lnSpc>
                <a:spcPct val="105000"/>
              </a:lnSpc>
              <a:defRPr/>
            </a:pPr>
            <a:r>
              <a:rPr lang="en-GB" sz="2297" b="1" cap="all" spc="100" baseline="0" dirty="0">
                <a:solidFill>
                  <a:schemeClr val="bg1"/>
                </a:solidFill>
                <a:latin typeface="AU Passata" panose="020B0503030502030804" pitchFamily="34" charset="0"/>
              </a:rPr>
              <a:t>DEPARTMENT OF POLITICAL SCIENCES</a:t>
            </a:r>
          </a:p>
          <a:p>
            <a:pPr>
              <a:lnSpc>
                <a:spcPct val="105000"/>
              </a:lnSpc>
              <a:defRPr/>
            </a:pPr>
            <a:r>
              <a:rPr lang="en-GB" sz="2297" b="0" cap="all" spc="100" baseline="0" dirty="0">
                <a:solidFill>
                  <a:schemeClr val="bg1"/>
                </a:solidFill>
                <a:latin typeface="AU Passata" panose="020B0503030502030804" pitchFamily="34" charset="0"/>
              </a:rPr>
              <a:t>AARHUS UNIVERSITY</a:t>
            </a:r>
          </a:p>
        </p:txBody>
      </p:sp>
      <p:sp>
        <p:nvSpPr>
          <p:cNvPr id="9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11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2"/>
            <a:ext cx="0" cy="770869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3696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 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arvet baggrund"/>
          <p:cNvSpPr/>
          <p:nvPr userDrawn="1"/>
        </p:nvSpPr>
        <p:spPr>
          <a:xfrm>
            <a:off x="6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91" dirty="0"/>
          </a:p>
        </p:txBody>
      </p:sp>
      <p:sp>
        <p:nvSpPr>
          <p:cNvPr id="6" name="OFF_logo2Computed"/>
          <p:cNvSpPr txBox="1">
            <a:spLocks noChangeArrowheads="1"/>
          </p:cNvSpPr>
          <p:nvPr userDrawn="1"/>
        </p:nvSpPr>
        <p:spPr bwMode="auto">
          <a:xfrm>
            <a:off x="4393149" y="2520003"/>
            <a:ext cx="7482862" cy="869704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492415" rIns="0" bIns="0">
            <a:spAutoFit/>
          </a:bodyPr>
          <a:lstStyle/>
          <a:p>
            <a:pPr>
              <a:lnSpc>
                <a:spcPct val="105000"/>
              </a:lnSpc>
              <a:defRPr/>
            </a:pPr>
            <a:endParaRPr lang="en-GB" sz="2297" b="0" cap="all" spc="200" baseline="0" dirty="0">
              <a:solidFill>
                <a:schemeClr val="bg1"/>
              </a:solidFill>
              <a:latin typeface="AU Passata" panose="020B0503030502030804" pitchFamily="34" charset="0"/>
            </a:endParaRPr>
          </a:p>
        </p:txBody>
      </p:sp>
      <p:sp>
        <p:nvSpPr>
          <p:cNvPr id="9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11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2"/>
            <a:ext cx="0" cy="770869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38D651E9-8113-0244-A574-5158A48332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1726" y="2204863"/>
            <a:ext cx="5668553" cy="2151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479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81" y="1782"/>
          <a:ext cx="1778" cy="17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81" y="1782"/>
                        <a:ext cx="1778" cy="17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87472" y="1384577"/>
            <a:ext cx="7863511" cy="4788512"/>
          </a:xfrm>
        </p:spPr>
        <p:txBody>
          <a:bodyPr/>
          <a:lstStyle>
            <a:lvl1pPr>
              <a:defRPr sz="1679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 Second level</a:t>
            </a: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>
          <a:xfrm>
            <a:off x="476993" y="6424263"/>
            <a:ext cx="739192" cy="18219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r" defTabSz="519543" rtl="0" eaLnBrk="1" latinLnBrk="0" hangingPunct="1">
              <a:defRPr sz="8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59772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543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9315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9086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98857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58629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18401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78172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a-DK" sz="587">
                <a:solidFill>
                  <a:srgbClr val="EDEBE9">
                    <a:lumMod val="50000"/>
                  </a:srgbClr>
                </a:solidFill>
              </a:rPr>
              <a:t> Side </a:t>
            </a:r>
            <a:fld id="{8D1860DE-99E2-CA4F-B49F-9FA189F66E94}" type="slidenum">
              <a:rPr lang="da-DK" sz="587" smtClean="0">
                <a:solidFill>
                  <a:srgbClr val="EDEBE9">
                    <a:lumMod val="50000"/>
                  </a:srgbClr>
                </a:solidFill>
              </a:rPr>
              <a:pPr algn="l"/>
              <a:t>‹nr.›</a:t>
            </a:fld>
            <a:endParaRPr lang="da-DK" sz="587" dirty="0">
              <a:solidFill>
                <a:srgbClr val="EDEBE9">
                  <a:lumMod val="50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5024" y="6229619"/>
            <a:ext cx="1032556" cy="38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45817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Farvet baggrund"/>
          <p:cNvPicPr preferRelativeResize="0"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0"/>
            <a:ext cx="12192000" cy="685800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34819" name="Title 1"/>
          <p:cNvSpPr>
            <a:spLocks noGrp="1" noChangeArrowheads="1"/>
          </p:cNvSpPr>
          <p:nvPr>
            <p:ph type="ctrTitle"/>
          </p:nvPr>
        </p:nvSpPr>
        <p:spPr>
          <a:xfrm>
            <a:off x="986098" y="2482347"/>
            <a:ext cx="10222987" cy="1661993"/>
          </a:xfrm>
        </p:spPr>
        <p:txBody>
          <a:bodyPr wrap="square" anchor="ctr" anchorCtr="0">
            <a:spAutoFit/>
          </a:bodyPr>
          <a:lstStyle>
            <a:lvl1pPr>
              <a:lnSpc>
                <a:spcPct val="90000"/>
              </a:lnSpc>
              <a:defRPr sz="5980" baseline="0">
                <a:solidFill>
                  <a:schemeClr val="bg1"/>
                </a:solidFill>
                <a:latin typeface="AU Passata Light" panose="020B03030309020308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1974112" y="3082510"/>
            <a:ext cx="182636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996" baseline="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Ændr 2. linje eller ord til</a:t>
            </a:r>
            <a:endParaRPr lang="en-GB" sz="1795"/>
          </a:p>
          <a:p>
            <a:pPr algn="r">
              <a:lnSpc>
                <a:spcPct val="100000"/>
              </a:lnSpc>
            </a:pPr>
            <a:r>
              <a:rPr lang="en-GB" sz="996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AU Passata Bold</a:t>
            </a:r>
            <a:endParaRPr lang="en-GB" sz="4782" dirty="0"/>
          </a:p>
        </p:txBody>
      </p:sp>
      <p:pic>
        <p:nvPicPr>
          <p:cNvPr id="14" name="Logo BS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7" y="5997604"/>
            <a:ext cx="600892" cy="601199"/>
          </a:xfrm>
          <a:prstGeom prst="rect">
            <a:avLst/>
          </a:prstGeom>
        </p:spPr>
      </p:pic>
      <p:sp>
        <p:nvSpPr>
          <p:cNvPr id="16" name="OFF_logo2Computed"/>
          <p:cNvSpPr txBox="1">
            <a:spLocks noChangeArrowheads="1"/>
          </p:cNvSpPr>
          <p:nvPr userDrawn="1"/>
        </p:nvSpPr>
        <p:spPr bwMode="auto">
          <a:xfrm>
            <a:off x="972257" y="5997604"/>
            <a:ext cx="2350657" cy="447851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68618" rIns="0" bIns="0">
            <a:spAutoFit/>
          </a:bodyPr>
          <a:lstStyle/>
          <a:p>
            <a:pPr>
              <a:lnSpc>
                <a:spcPct val="100000"/>
              </a:lnSpc>
              <a:defRPr/>
            </a:pPr>
            <a:endParaRPr lang="en-GB" sz="896" cap="all" spc="40" baseline="0" dirty="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00000"/>
              </a:lnSpc>
              <a:defRPr/>
            </a:pPr>
            <a:endParaRPr lang="en-GB" sz="896" cap="all" spc="4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5" name="OFF_logo1Computed">
            <a:extLst>
              <a:ext uri="{FF2B5EF4-FFF2-40B4-BE49-F238E27FC236}">
                <a16:creationId xmlns:a16="http://schemas.microsoft.com/office/drawing/2014/main" id="{76394C7A-7F05-BF47-B9F2-31A5C83539FE}"/>
              </a:ext>
            </a:extLst>
          </p:cNvPr>
          <p:cNvSpPr/>
          <p:nvPr userDrawn="1"/>
        </p:nvSpPr>
        <p:spPr bwMode="auto">
          <a:xfrm>
            <a:off x="972254" y="6007006"/>
            <a:ext cx="1866381" cy="588739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35875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1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6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911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6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911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6" b="1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INSTITUT FOR STATSKUNDSKAB</a:t>
            </a:r>
          </a:p>
          <a:p>
            <a:pPr marL="0" marR="0" indent="0" algn="l" defTabSz="911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6" b="0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AARHUS UNIVERSITET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3F20AD3C-DDCD-3743-AC79-5A832C88AA4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7431" y="-6149641"/>
            <a:ext cx="10629138" cy="12199072"/>
          </a:xfrm>
          <a:prstGeom prst="rect">
            <a:avLst/>
          </a:prstGeom>
        </p:spPr>
      </p:pic>
      <p:pic>
        <p:nvPicPr>
          <p:cNvPr id="20" name="Billede 19">
            <a:extLst>
              <a:ext uri="{FF2B5EF4-FFF2-40B4-BE49-F238E27FC236}">
                <a16:creationId xmlns:a16="http://schemas.microsoft.com/office/drawing/2014/main" id="{F39DCE25-406B-F849-971B-3B95A143E51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509" y="5557203"/>
            <a:ext cx="3817418" cy="175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6636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arvet baggrund"/>
          <p:cNvSpPr/>
          <p:nvPr userDrawn="1"/>
        </p:nvSpPr>
        <p:spPr>
          <a:xfrm>
            <a:off x="4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82" dirty="0"/>
          </a:p>
        </p:txBody>
      </p:sp>
      <p:sp>
        <p:nvSpPr>
          <p:cNvPr id="19" name="White Top Rectangle"/>
          <p:cNvSpPr>
            <a:spLocks noChangeArrowheads="1"/>
          </p:cNvSpPr>
          <p:nvPr userDrawn="1"/>
        </p:nvSpPr>
        <p:spPr bwMode="auto">
          <a:xfrm>
            <a:off x="986097" y="3443622"/>
            <a:ext cx="648169" cy="46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4782" dirty="0"/>
          </a:p>
        </p:txBody>
      </p:sp>
      <p:sp>
        <p:nvSpPr>
          <p:cNvPr id="34819" name="Title 1"/>
          <p:cNvSpPr>
            <a:spLocks noGrp="1" noChangeArrowheads="1"/>
          </p:cNvSpPr>
          <p:nvPr>
            <p:ph type="ctrTitle"/>
          </p:nvPr>
        </p:nvSpPr>
        <p:spPr>
          <a:xfrm>
            <a:off x="982103" y="1520319"/>
            <a:ext cx="9545793" cy="1779553"/>
          </a:xfrm>
        </p:spPr>
        <p:txBody>
          <a:bodyPr wrap="square" anchor="b" anchorCtr="0">
            <a:noAutofit/>
          </a:bodyPr>
          <a:lstStyle>
            <a:lvl1pPr>
              <a:lnSpc>
                <a:spcPct val="90000"/>
              </a:lnSpc>
              <a:defRPr sz="5980" baseline="0">
                <a:solidFill>
                  <a:schemeClr val="bg1"/>
                </a:solidFill>
                <a:latin typeface="AU Passata Light" panose="020B03030309020308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86097" y="3715435"/>
            <a:ext cx="7163077" cy="1746085"/>
          </a:xfrm>
        </p:spPr>
        <p:txBody>
          <a:bodyPr/>
          <a:lstStyle>
            <a:lvl1pPr marL="0" indent="0">
              <a:lnSpc>
                <a:spcPct val="101000"/>
              </a:lnSpc>
              <a:buFontTx/>
              <a:buNone/>
              <a:defRPr sz="2691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2160915" y="2132856"/>
            <a:ext cx="2013173" cy="738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</a:pPr>
            <a:r>
              <a:rPr lang="en-GB" sz="996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Ændr 2. linje i overskriften </a:t>
            </a:r>
            <a:br>
              <a:rPr lang="en-GB" sz="996" noProof="1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GB" sz="996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til AU Passata bold</a:t>
            </a:r>
            <a:endParaRPr lang="en-GB" sz="4782" dirty="0"/>
          </a:p>
        </p:txBody>
      </p:sp>
      <p:pic>
        <p:nvPicPr>
          <p:cNvPr id="23" name="Billede stre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4784" y="5997604"/>
            <a:ext cx="71753" cy="557999"/>
          </a:xfrm>
          <a:prstGeom prst="rect">
            <a:avLst/>
          </a:prstGeom>
        </p:spPr>
      </p:pic>
      <p:pic>
        <p:nvPicPr>
          <p:cNvPr id="18" name="Logo BS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7" y="5997604"/>
            <a:ext cx="600892" cy="601199"/>
          </a:xfrm>
          <a:prstGeom prst="rect">
            <a:avLst/>
          </a:prstGeom>
        </p:spPr>
      </p:pic>
      <p:sp>
        <p:nvSpPr>
          <p:cNvPr id="17" name="OFF_logo2Computed"/>
          <p:cNvSpPr txBox="1">
            <a:spLocks noChangeArrowheads="1"/>
          </p:cNvSpPr>
          <p:nvPr userDrawn="1"/>
        </p:nvSpPr>
        <p:spPr bwMode="auto">
          <a:xfrm>
            <a:off x="972257" y="5997604"/>
            <a:ext cx="2350657" cy="447851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68618" rIns="0" bIns="0">
            <a:spAutoFit/>
          </a:bodyPr>
          <a:lstStyle/>
          <a:p>
            <a:pPr>
              <a:lnSpc>
                <a:spcPct val="100000"/>
              </a:lnSpc>
              <a:defRPr/>
            </a:pPr>
            <a:endParaRPr lang="en-GB" sz="896" cap="all" spc="40" baseline="0" dirty="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00000"/>
              </a:lnSpc>
              <a:defRPr/>
            </a:pPr>
            <a:endParaRPr lang="en-GB" sz="896" cap="all" spc="4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0" name="Date_DateCustomA">
            <a:extLst>
              <a:ext uri="{FF2B5EF4-FFF2-40B4-BE49-F238E27FC236}">
                <a16:creationId xmlns:a16="http://schemas.microsoft.com/office/drawing/2014/main" id="{83B87CDF-1545-A043-B2EF-A5E40790EFA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92294" y="5997600"/>
            <a:ext cx="2272432" cy="58217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473565" rIns="0" bIns="0" anchor="t" anchorCtr="0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GB" sz="698" b="0" cap="all" baseline="0" dirty="0">
                <a:solidFill>
                  <a:schemeClr val="bg1"/>
                </a:solidFill>
                <a:latin typeface="+mn-lt"/>
              </a:rPr>
              <a:t>DATO</a:t>
            </a:r>
          </a:p>
        </p:txBody>
      </p:sp>
      <p:sp>
        <p:nvSpPr>
          <p:cNvPr id="31" name="USR_Title">
            <a:extLst>
              <a:ext uri="{FF2B5EF4-FFF2-40B4-BE49-F238E27FC236}">
                <a16:creationId xmlns:a16="http://schemas.microsoft.com/office/drawing/2014/main" id="{51751D24-1EC3-FC45-B4C5-2E3E1ABB8D1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241669" y="5997600"/>
            <a:ext cx="2983193" cy="58217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lIns="0" tIns="473565" rIns="0" bIns="0" anchor="t" anchorCtr="0">
            <a:spAutoFit/>
          </a:bodyPr>
          <a:lstStyle/>
          <a:p>
            <a:pPr algn="l">
              <a:lnSpc>
                <a:spcPct val="95000"/>
              </a:lnSpc>
              <a:defRPr/>
            </a:pPr>
            <a:r>
              <a:rPr lang="en-GB" sz="698" b="0" cap="all" baseline="0" dirty="0">
                <a:solidFill>
                  <a:schemeClr val="bg1"/>
                </a:solidFill>
                <a:latin typeface="+mn-lt"/>
              </a:rPr>
              <a:t>TITEL</a:t>
            </a:r>
          </a:p>
        </p:txBody>
      </p:sp>
      <p:sp>
        <p:nvSpPr>
          <p:cNvPr id="32" name="FLD_Event">
            <a:extLst>
              <a:ext uri="{FF2B5EF4-FFF2-40B4-BE49-F238E27FC236}">
                <a16:creationId xmlns:a16="http://schemas.microsoft.com/office/drawing/2014/main" id="{06090CB5-1AD5-8847-A56B-49392981F75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92294" y="5997600"/>
            <a:ext cx="2272432" cy="44767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340824" rIns="0" bIns="0" anchor="t" anchorCtr="0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GB" sz="698" b="0" kern="1200" cap="all" baseline="0" dirty="0">
                <a:solidFill>
                  <a:schemeClr val="bg1"/>
                </a:solidFill>
                <a:latin typeface="AU Passata" pitchFamily="34" charset="0"/>
                <a:ea typeface="+mn-ea"/>
                <a:cs typeface="+mn-cs"/>
              </a:rPr>
              <a:t>EVENT</a:t>
            </a:r>
          </a:p>
        </p:txBody>
      </p:sp>
      <p:sp>
        <p:nvSpPr>
          <p:cNvPr id="33" name="USR_Name">
            <a:extLst>
              <a:ext uri="{FF2B5EF4-FFF2-40B4-BE49-F238E27FC236}">
                <a16:creationId xmlns:a16="http://schemas.microsoft.com/office/drawing/2014/main" id="{7E4960BF-7EFE-7246-811D-2E2E30BDEF9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241669" y="5997600"/>
            <a:ext cx="2983193" cy="444040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lIns="0" tIns="340824" rIns="0" bIns="0" anchor="t" anchorCtr="0">
            <a:spAutoFit/>
          </a:bodyPr>
          <a:lstStyle/>
          <a:p>
            <a:pPr algn="l">
              <a:lnSpc>
                <a:spcPct val="95000"/>
              </a:lnSpc>
              <a:defRPr/>
            </a:pPr>
            <a:r>
              <a:rPr lang="en-GB" sz="698" b="0" cap="all" baseline="0" dirty="0">
                <a:solidFill>
                  <a:schemeClr val="bg1"/>
                </a:solidFill>
                <a:latin typeface="+mn-lt"/>
              </a:rPr>
              <a:t>NAVN</a:t>
            </a:r>
          </a:p>
        </p:txBody>
      </p:sp>
      <p:sp>
        <p:nvSpPr>
          <p:cNvPr id="34" name="OFF_logo1Computed">
            <a:extLst>
              <a:ext uri="{FF2B5EF4-FFF2-40B4-BE49-F238E27FC236}">
                <a16:creationId xmlns:a16="http://schemas.microsoft.com/office/drawing/2014/main" id="{D90FCB66-191C-9349-8604-080297494FC7}"/>
              </a:ext>
            </a:extLst>
          </p:cNvPr>
          <p:cNvSpPr/>
          <p:nvPr userDrawn="1"/>
        </p:nvSpPr>
        <p:spPr bwMode="auto">
          <a:xfrm>
            <a:off x="972254" y="6007006"/>
            <a:ext cx="1866381" cy="588739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35875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1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6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911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6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911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6" b="1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INSTITUT FOR STATSKUNDSKAB</a:t>
            </a:r>
          </a:p>
          <a:p>
            <a:pPr marL="0" marR="0" indent="0" algn="l" defTabSz="911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6" b="0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AARHUS UNIVERSITET</a:t>
            </a:r>
          </a:p>
        </p:txBody>
      </p:sp>
      <p:pic>
        <p:nvPicPr>
          <p:cNvPr id="24" name="Billede 23">
            <a:extLst>
              <a:ext uri="{FF2B5EF4-FFF2-40B4-BE49-F238E27FC236}">
                <a16:creationId xmlns:a16="http://schemas.microsoft.com/office/drawing/2014/main" id="{F807BD2F-53D4-0B48-9E07-8F17CB30AE6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509" y="5557203"/>
            <a:ext cx="3817418" cy="175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4101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arvet baggrund"/>
          <p:cNvSpPr/>
          <p:nvPr userDrawn="1"/>
        </p:nvSpPr>
        <p:spPr>
          <a:xfrm>
            <a:off x="4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82" dirty="0"/>
          </a:p>
        </p:txBody>
      </p:sp>
      <p:sp>
        <p:nvSpPr>
          <p:cNvPr id="34819" name="Title 1"/>
          <p:cNvSpPr>
            <a:spLocks noGrp="1" noChangeArrowheads="1"/>
          </p:cNvSpPr>
          <p:nvPr>
            <p:ph type="ctrTitle"/>
          </p:nvPr>
        </p:nvSpPr>
        <p:spPr>
          <a:xfrm>
            <a:off x="986098" y="2482347"/>
            <a:ext cx="10222987" cy="1661993"/>
          </a:xfrm>
        </p:spPr>
        <p:txBody>
          <a:bodyPr wrap="square" anchor="ctr" anchorCtr="0">
            <a:spAutoFit/>
          </a:bodyPr>
          <a:lstStyle>
            <a:lvl1pPr>
              <a:lnSpc>
                <a:spcPct val="90000"/>
              </a:lnSpc>
              <a:defRPr sz="5980" baseline="0">
                <a:solidFill>
                  <a:schemeClr val="bg1"/>
                </a:solidFill>
                <a:latin typeface="AU Passata Light" panose="020B03030309020308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1974112" y="3082510"/>
            <a:ext cx="182636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996" baseline="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Ændr 2. linje eller ord til</a:t>
            </a:r>
            <a:endParaRPr lang="en-GB" sz="1795"/>
          </a:p>
          <a:p>
            <a:pPr algn="r">
              <a:lnSpc>
                <a:spcPct val="100000"/>
              </a:lnSpc>
            </a:pPr>
            <a:r>
              <a:rPr lang="en-GB" sz="996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AU Passata Bold</a:t>
            </a:r>
            <a:endParaRPr lang="en-GB" sz="4782" dirty="0"/>
          </a:p>
        </p:txBody>
      </p:sp>
      <p:pic>
        <p:nvPicPr>
          <p:cNvPr id="23" name="Billed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4784" y="5997604"/>
            <a:ext cx="71753" cy="557999"/>
          </a:xfrm>
          <a:prstGeom prst="rect">
            <a:avLst/>
          </a:prstGeom>
        </p:spPr>
      </p:pic>
      <p:pic>
        <p:nvPicPr>
          <p:cNvPr id="16" name="Logo BS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7" y="5997604"/>
            <a:ext cx="600892" cy="601199"/>
          </a:xfrm>
          <a:prstGeom prst="rect">
            <a:avLst/>
          </a:prstGeom>
        </p:spPr>
      </p:pic>
      <p:sp>
        <p:nvSpPr>
          <p:cNvPr id="17" name="OFF_logo2Computed"/>
          <p:cNvSpPr txBox="1">
            <a:spLocks noChangeArrowheads="1"/>
          </p:cNvSpPr>
          <p:nvPr userDrawn="1"/>
        </p:nvSpPr>
        <p:spPr bwMode="auto">
          <a:xfrm>
            <a:off x="972257" y="5997604"/>
            <a:ext cx="2350657" cy="447851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68618" rIns="0" bIns="0">
            <a:spAutoFit/>
          </a:bodyPr>
          <a:lstStyle/>
          <a:p>
            <a:pPr>
              <a:lnSpc>
                <a:spcPct val="100000"/>
              </a:lnSpc>
              <a:defRPr/>
            </a:pPr>
            <a:endParaRPr lang="en-GB" sz="896" cap="all" spc="40" baseline="0" dirty="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00000"/>
              </a:lnSpc>
              <a:defRPr/>
            </a:pPr>
            <a:endParaRPr lang="en-GB" sz="896" cap="all" spc="4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9" name="Date_DateCustomA">
            <a:extLst>
              <a:ext uri="{FF2B5EF4-FFF2-40B4-BE49-F238E27FC236}">
                <a16:creationId xmlns:a16="http://schemas.microsoft.com/office/drawing/2014/main" id="{39E94D8C-5906-5243-B2B8-14863ACA416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92294" y="5997600"/>
            <a:ext cx="2272432" cy="58217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473565" rIns="0" bIns="0" anchor="t" anchorCtr="0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GB" sz="698" b="0" cap="all" baseline="0" dirty="0">
                <a:solidFill>
                  <a:schemeClr val="bg1"/>
                </a:solidFill>
                <a:latin typeface="+mn-lt"/>
              </a:rPr>
              <a:t>DATE</a:t>
            </a:r>
          </a:p>
        </p:txBody>
      </p:sp>
      <p:sp>
        <p:nvSpPr>
          <p:cNvPr id="20" name="USR_Title">
            <a:extLst>
              <a:ext uri="{FF2B5EF4-FFF2-40B4-BE49-F238E27FC236}">
                <a16:creationId xmlns:a16="http://schemas.microsoft.com/office/drawing/2014/main" id="{C89BF9DB-1346-114F-9332-18E99C5D2C0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241669" y="5997600"/>
            <a:ext cx="2983193" cy="58217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lIns="0" tIns="473565" rIns="0" bIns="0" anchor="t" anchorCtr="0">
            <a:spAutoFit/>
          </a:bodyPr>
          <a:lstStyle/>
          <a:p>
            <a:pPr algn="l">
              <a:lnSpc>
                <a:spcPct val="95000"/>
              </a:lnSpc>
              <a:defRPr/>
            </a:pPr>
            <a:r>
              <a:rPr lang="en-GB" sz="698" b="0" cap="all" baseline="0" dirty="0">
                <a:solidFill>
                  <a:schemeClr val="bg1"/>
                </a:solidFill>
                <a:latin typeface="+mn-lt"/>
              </a:rPr>
              <a:t>TITLE</a:t>
            </a:r>
          </a:p>
        </p:txBody>
      </p:sp>
      <p:sp>
        <p:nvSpPr>
          <p:cNvPr id="21" name="FLD_Event">
            <a:extLst>
              <a:ext uri="{FF2B5EF4-FFF2-40B4-BE49-F238E27FC236}">
                <a16:creationId xmlns:a16="http://schemas.microsoft.com/office/drawing/2014/main" id="{9D885253-00F6-4B48-A022-D4BA3A36F2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92294" y="5997600"/>
            <a:ext cx="2272432" cy="44767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340824" rIns="0" bIns="0" anchor="t" anchorCtr="0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GB" sz="698" b="0" kern="1200" cap="all" baseline="0" dirty="0">
                <a:solidFill>
                  <a:schemeClr val="bg1"/>
                </a:solidFill>
                <a:latin typeface="AU Passata" pitchFamily="34" charset="0"/>
                <a:ea typeface="+mn-ea"/>
                <a:cs typeface="+mn-cs"/>
              </a:rPr>
              <a:t>EVENT</a:t>
            </a:r>
          </a:p>
        </p:txBody>
      </p:sp>
      <p:sp>
        <p:nvSpPr>
          <p:cNvPr id="24" name="USR_Name">
            <a:extLst>
              <a:ext uri="{FF2B5EF4-FFF2-40B4-BE49-F238E27FC236}">
                <a16:creationId xmlns:a16="http://schemas.microsoft.com/office/drawing/2014/main" id="{906037FE-CD0B-D246-ADAE-BD593819FD9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241669" y="5997600"/>
            <a:ext cx="2983193" cy="444040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lIns="0" tIns="340824" rIns="0" bIns="0" anchor="t" anchorCtr="0">
            <a:spAutoFit/>
          </a:bodyPr>
          <a:lstStyle/>
          <a:p>
            <a:pPr algn="l">
              <a:lnSpc>
                <a:spcPct val="95000"/>
              </a:lnSpc>
              <a:defRPr/>
            </a:pPr>
            <a:r>
              <a:rPr lang="en-GB" sz="698" b="0" cap="all" baseline="0" dirty="0">
                <a:solidFill>
                  <a:schemeClr val="bg1"/>
                </a:solidFill>
                <a:latin typeface="+mn-lt"/>
              </a:rPr>
              <a:t>NAME</a:t>
            </a:r>
          </a:p>
        </p:txBody>
      </p:sp>
      <p:sp>
        <p:nvSpPr>
          <p:cNvPr id="30" name="OFF_logo1Computed">
            <a:extLst>
              <a:ext uri="{FF2B5EF4-FFF2-40B4-BE49-F238E27FC236}">
                <a16:creationId xmlns:a16="http://schemas.microsoft.com/office/drawing/2014/main" id="{8A93CCFD-650B-1341-8C31-3270BB6359CF}"/>
              </a:ext>
            </a:extLst>
          </p:cNvPr>
          <p:cNvSpPr/>
          <p:nvPr userDrawn="1"/>
        </p:nvSpPr>
        <p:spPr bwMode="auto">
          <a:xfrm>
            <a:off x="972252" y="6007006"/>
            <a:ext cx="2180652" cy="588739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35875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1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6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911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6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911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6" b="1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DEPARTMENT OF POLITICAL SCIENCE</a:t>
            </a:r>
          </a:p>
          <a:p>
            <a:pPr marL="0" marR="0" indent="0" algn="l" defTabSz="911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6" b="0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AARHUS UNIVERSITY</a:t>
            </a:r>
          </a:p>
        </p:txBody>
      </p:sp>
      <p:pic>
        <p:nvPicPr>
          <p:cNvPr id="25" name="Billede 24">
            <a:extLst>
              <a:ext uri="{FF2B5EF4-FFF2-40B4-BE49-F238E27FC236}">
                <a16:creationId xmlns:a16="http://schemas.microsoft.com/office/drawing/2014/main" id="{2089D777-7D3E-D24B-874B-DE85152B78C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509" y="5557203"/>
            <a:ext cx="3817418" cy="175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5612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6098" y="1960079"/>
            <a:ext cx="10222987" cy="3937484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-1974112" y="340165"/>
            <a:ext cx="1826368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996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Overskrift to</a:t>
            </a:r>
            <a:r>
              <a:rPr lang="en-GB" sz="996" baseline="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 linjer </a:t>
            </a:r>
            <a:endParaRPr lang="en-GB" sz="1795"/>
          </a:p>
          <a:p>
            <a:pPr algn="r">
              <a:lnSpc>
                <a:spcPct val="100000"/>
              </a:lnSpc>
            </a:pPr>
            <a:r>
              <a:rPr lang="en-GB" sz="996" baseline="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ændr 2. linje til</a:t>
            </a:r>
            <a:endParaRPr lang="en-GB" sz="1795"/>
          </a:p>
          <a:p>
            <a:pPr algn="r">
              <a:lnSpc>
                <a:spcPct val="100000"/>
              </a:lnSpc>
            </a:pPr>
            <a:r>
              <a:rPr lang="en-GB" sz="996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AU Passata Bold</a:t>
            </a:r>
            <a:endParaRPr lang="en-GB" sz="4782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45239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ine title and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vid baggrund"/>
          <p:cNvSpPr/>
          <p:nvPr userDrawn="1"/>
        </p:nvSpPr>
        <p:spPr bwMode="auto">
          <a:xfrm>
            <a:off x="0" y="1"/>
            <a:ext cx="12196376" cy="5894387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126" tIns="45562" rIns="91126" bIns="45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1202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594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16" name="Black Rectangle"/>
          <p:cNvSpPr/>
          <p:nvPr userDrawn="1"/>
        </p:nvSpPr>
        <p:spPr>
          <a:xfrm>
            <a:off x="990259" y="1045686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82" dirty="0"/>
          </a:p>
          <a:p>
            <a:pPr algn="ctr"/>
            <a:endParaRPr lang="en-GB" sz="4782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15995" y="228629"/>
            <a:ext cx="11559010" cy="752101"/>
          </a:xfrm>
        </p:spPr>
        <p:txBody>
          <a:bodyPr anchor="t" anchorCtr="0"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6098" y="1373021"/>
            <a:ext cx="10222987" cy="4521366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18" name="TextBox 17"/>
          <p:cNvSpPr txBox="1"/>
          <p:nvPr userDrawn="1"/>
        </p:nvSpPr>
        <p:spPr>
          <a:xfrm>
            <a:off x="-1974112" y="340165"/>
            <a:ext cx="182636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996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Overskrift én linje</a:t>
            </a:r>
            <a:endParaRPr lang="en-GB" sz="1795"/>
          </a:p>
          <a:p>
            <a:pPr algn="r">
              <a:lnSpc>
                <a:spcPct val="100000"/>
              </a:lnSpc>
            </a:pPr>
            <a:r>
              <a:rPr lang="en-GB" sz="996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Light eller AU Passata Bold</a:t>
            </a:r>
            <a:endParaRPr lang="en-GB" sz="4782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8703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00000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vid baggrund"/>
          <p:cNvSpPr/>
          <p:nvPr userDrawn="1"/>
        </p:nvSpPr>
        <p:spPr bwMode="auto">
          <a:xfrm>
            <a:off x="0" y="0"/>
            <a:ext cx="12196376" cy="5911200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126" tIns="45562" rIns="91126" bIns="45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1202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594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15" name="Black Rectangle"/>
          <p:cNvSpPr/>
          <p:nvPr userDrawn="1"/>
        </p:nvSpPr>
        <p:spPr>
          <a:xfrm>
            <a:off x="990259" y="1045686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82" dirty="0"/>
          </a:p>
          <a:p>
            <a:pPr algn="ctr"/>
            <a:endParaRPr lang="en-GB" sz="4782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6886" y="230400"/>
            <a:ext cx="5645733" cy="752400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GB" dirty="0"/>
              <a:t>Insert title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986098" y="1371602"/>
            <a:ext cx="4976521" cy="4525964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31821" y="315913"/>
            <a:ext cx="5645580" cy="558165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9" name="TextBox 8"/>
          <p:cNvSpPr txBox="1"/>
          <p:nvPr userDrawn="1"/>
        </p:nvSpPr>
        <p:spPr>
          <a:xfrm>
            <a:off x="-1974112" y="340165"/>
            <a:ext cx="182636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996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Overskrift én linje</a:t>
            </a:r>
            <a:endParaRPr lang="en-GB" sz="1795"/>
          </a:p>
          <a:p>
            <a:pPr algn="r">
              <a:lnSpc>
                <a:spcPct val="100000"/>
              </a:lnSpc>
            </a:pPr>
            <a:r>
              <a:rPr lang="en-GB" sz="996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Light eller AU Passata Bold</a:t>
            </a:r>
            <a:endParaRPr lang="en-GB" sz="4782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6871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4">
          <p15:clr>
            <a:srgbClr val="A4A3A4"/>
          </p15:clr>
        </p15:guide>
        <p15:guide id="2" pos="3755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al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vid baggrund"/>
          <p:cNvSpPr/>
          <p:nvPr userDrawn="1"/>
        </p:nvSpPr>
        <p:spPr bwMode="auto">
          <a:xfrm>
            <a:off x="0" y="4"/>
            <a:ext cx="12196376" cy="5911011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126" tIns="45562" rIns="91126" bIns="455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1202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594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15" name="Black Rectangle"/>
          <p:cNvSpPr/>
          <p:nvPr userDrawn="1"/>
        </p:nvSpPr>
        <p:spPr>
          <a:xfrm>
            <a:off x="1001337" y="2694542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82" dirty="0"/>
          </a:p>
          <a:p>
            <a:pPr algn="ctr"/>
            <a:endParaRPr lang="en-GB" sz="4782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098" y="1484784"/>
            <a:ext cx="4976521" cy="971980"/>
          </a:xfrm>
        </p:spPr>
        <p:txBody>
          <a:bodyPr anchor="b" anchorCtr="0"/>
          <a:lstStyle>
            <a:lvl1pPr>
              <a:lnSpc>
                <a:spcPct val="95000"/>
              </a:lnSpc>
              <a:defRPr sz="2989">
                <a:latin typeface="+mn-lt"/>
              </a:defRPr>
            </a:lvl1pPr>
          </a:lstStyle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986098" y="3010713"/>
            <a:ext cx="4976521" cy="1858449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dirty="0"/>
              <a:t>6</a:t>
            </a:r>
            <a:endParaRPr lang="en-GB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33223" y="315913"/>
            <a:ext cx="5646270" cy="55836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9" name="TextBox 8"/>
          <p:cNvSpPr txBox="1"/>
          <p:nvPr userDrawn="1"/>
        </p:nvSpPr>
        <p:spPr>
          <a:xfrm>
            <a:off x="-1974112" y="1780882"/>
            <a:ext cx="182636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996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Overskrift to</a:t>
            </a:r>
            <a:r>
              <a:rPr lang="en-GB" sz="996" baseline="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 linjer</a:t>
            </a:r>
            <a:endParaRPr lang="en-GB" sz="1795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3115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0">
          <p15:clr>
            <a:srgbClr val="A4A3A4"/>
          </p15:clr>
        </p15:guide>
        <p15:guide id="2" pos="3755">
          <p15:clr>
            <a:srgbClr val="A4A3A4"/>
          </p15:clr>
        </p15:guide>
        <p15:guide id="3" orient="horz" pos="3069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2A81C073-453A-442E-AB33-B3AAFBCE3378}"/>
              </a:ext>
            </a:extLst>
          </p:cNvPr>
          <p:cNvSpPr txBox="1">
            <a:spLocks/>
          </p:cNvSpPr>
          <p:nvPr userDrawn="1"/>
        </p:nvSpPr>
        <p:spPr>
          <a:xfrm>
            <a:off x="1367391" y="872716"/>
            <a:ext cx="10137524" cy="82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rgbClr val="1F4A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rgbClr val="1F4A60"/>
                </a:solidFill>
              </a:rPr>
              <a:t>Overskrift 28pt i max. to linjer </a:t>
            </a:r>
            <a:br>
              <a:rPr lang="da-DK" dirty="0">
                <a:solidFill>
                  <a:srgbClr val="1F4A60"/>
                </a:solidFill>
              </a:rPr>
            </a:br>
            <a:r>
              <a:rPr lang="da-DK" dirty="0">
                <a:solidFill>
                  <a:srgbClr val="1F4A60"/>
                </a:solidFill>
              </a:rPr>
              <a:t>teksten vokser opad</a:t>
            </a:r>
          </a:p>
        </p:txBody>
      </p:sp>
      <p:sp>
        <p:nvSpPr>
          <p:cNvPr id="20" name="Pladsholder til indhold 2">
            <a:extLst>
              <a:ext uri="{FF2B5EF4-FFF2-40B4-BE49-F238E27FC236}">
                <a16:creationId xmlns:a16="http://schemas.microsoft.com/office/drawing/2014/main" id="{56CBBFB9-5DF3-4D51-9DD2-8C662362C03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367999" y="1989138"/>
            <a:ext cx="10136614" cy="3996145"/>
          </a:xfrm>
        </p:spPr>
        <p:txBody>
          <a:bodyPr/>
          <a:lstStyle>
            <a:lvl1pPr marL="270000" indent="-270000">
              <a:defRPr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/>
            </a:lvl4pPr>
            <a:lvl5pPr marL="1656000" indent="-216000">
              <a:defRPr/>
            </a:lvl5pPr>
            <a:lvl6pPr marL="1998000" indent="-180000">
              <a:defRPr/>
            </a:lvl6pPr>
            <a:lvl7pPr marL="2358000" indent="-180000">
              <a:defRPr/>
            </a:lvl7pPr>
            <a:lvl8pPr marL="2718000" indent="-180000">
              <a:defRPr/>
            </a:lvl8pPr>
            <a:lvl9pPr marL="2718000" indent="-180000">
              <a:defRPr sz="1000"/>
            </a:lvl9pPr>
          </a:lstStyle>
          <a:p>
            <a:pPr lvl="0"/>
            <a:r>
              <a:rPr lang="da-DK" dirty="0"/>
              <a:t>Brødtekst 22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sp>
        <p:nvSpPr>
          <p:cNvPr id="24" name="Hvid dæk boks">
            <a:extLst>
              <a:ext uri="{FF2B5EF4-FFF2-40B4-BE49-F238E27FC236}">
                <a16:creationId xmlns:a16="http://schemas.microsoft.com/office/drawing/2014/main" id="{BE699CE1-E7E4-4383-BF65-18BBB39E3EA3}"/>
              </a:ext>
            </a:extLst>
          </p:cNvPr>
          <p:cNvSpPr/>
          <p:nvPr userDrawn="1"/>
        </p:nvSpPr>
        <p:spPr>
          <a:xfrm>
            <a:off x="1" y="0"/>
            <a:ext cx="12199488" cy="6858000"/>
          </a:xfrm>
          <a:prstGeom prst="rect">
            <a:avLst/>
          </a:prstGeom>
          <a:solidFill>
            <a:srgbClr val="1F4A60">
              <a:alpha val="2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pic>
        <p:nvPicPr>
          <p:cNvPr id="25" name="Billede 24" descr="Et billede, der indeholder tekst&#10;&#10;Automatisk genereret beskrivelse">
            <a:extLst>
              <a:ext uri="{FF2B5EF4-FFF2-40B4-BE49-F238E27FC236}">
                <a16:creationId xmlns:a16="http://schemas.microsoft.com/office/drawing/2014/main" id="{97DA42F0-4BB9-402E-88D8-366784AD08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1811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"/>
          <p:cNvSpPr>
            <a:spLocks noGrp="1"/>
          </p:cNvSpPr>
          <p:nvPr>
            <p:ph type="pic" sz="quarter" idx="11" hasCustomPrompt="1"/>
          </p:nvPr>
        </p:nvSpPr>
        <p:spPr>
          <a:xfrm>
            <a:off x="316885" y="316800"/>
            <a:ext cx="11562611" cy="55836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718795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1" hasCustomPrompt="1"/>
          </p:nvPr>
        </p:nvSpPr>
        <p:spPr>
          <a:xfrm>
            <a:off x="316883" y="316800"/>
            <a:ext cx="5646270" cy="55836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233223" y="316800"/>
            <a:ext cx="5646270" cy="55836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7174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4">
          <p15:clr>
            <a:srgbClr val="A4A3A4"/>
          </p15:clr>
        </p15:guide>
        <p15:guide id="2" pos="3754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1" hasCustomPrompt="1"/>
          </p:nvPr>
        </p:nvSpPr>
        <p:spPr>
          <a:xfrm>
            <a:off x="316883" y="316800"/>
            <a:ext cx="5646270" cy="26532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316883" y="3237374"/>
            <a:ext cx="5646270" cy="26532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33223" y="316800"/>
            <a:ext cx="5646270" cy="55836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9" name="Footer Placeholder 8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1421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2">
          <p15:clr>
            <a:srgbClr val="A4A3A4"/>
          </p15:clr>
        </p15:guide>
        <p15:guide id="2" pos="3755">
          <p15:clr>
            <a:srgbClr val="A4A3A4"/>
          </p15:clr>
        </p15:guide>
        <p15:guide id="3" orient="horz" pos="2039">
          <p15:clr>
            <a:srgbClr val="A4A3A4"/>
          </p15:clr>
        </p15:guide>
        <p15:guide id="4" orient="horz" pos="1872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>
          <a:xfrm>
            <a:off x="316883" y="316800"/>
            <a:ext cx="5646270" cy="55836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233223" y="316800"/>
            <a:ext cx="5646270" cy="26532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33223" y="3237374"/>
            <a:ext cx="5646270" cy="26532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9" name="Footer Placeholder 8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6364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2">
          <p15:clr>
            <a:srgbClr val="A4A3A4"/>
          </p15:clr>
        </p15:guide>
        <p15:guide id="2" pos="3755">
          <p15:clr>
            <a:srgbClr val="A4A3A4"/>
          </p15:clr>
        </p15:guide>
        <p15:guide id="3" orient="horz" pos="2039">
          <p15:clr>
            <a:srgbClr val="A4A3A4"/>
          </p15:clr>
        </p15:guide>
        <p15:guide id="4" orient="horz" pos="1872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315996" y="315915"/>
            <a:ext cx="11560010" cy="6220354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49372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vid baggrund"/>
          <p:cNvSpPr/>
          <p:nvPr userDrawn="1"/>
        </p:nvSpPr>
        <p:spPr bwMode="auto">
          <a:xfrm>
            <a:off x="4" y="2"/>
            <a:ext cx="12192000" cy="5897563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126" tIns="45562" rIns="91126" bIns="45562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1202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594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Text Placeholder 61"/>
          <p:cNvSpPr>
            <a:spLocks noGrp="1"/>
          </p:cNvSpPr>
          <p:nvPr>
            <p:ph type="body" sz="quarter" idx="16" hasCustomPrompt="1"/>
          </p:nvPr>
        </p:nvSpPr>
        <p:spPr>
          <a:xfrm>
            <a:off x="1846422" y="1412776"/>
            <a:ext cx="8499157" cy="3744416"/>
          </a:xfrm>
        </p:spPr>
        <p:txBody>
          <a:bodyPr/>
          <a:lstStyle>
            <a:lvl1pPr marL="430488" indent="-430488" algn="ctr">
              <a:lnSpc>
                <a:spcPct val="107000"/>
              </a:lnSpc>
              <a:buSzPct val="250000"/>
              <a:buFontTx/>
              <a:buBlip>
                <a:blip r:embed="rId2"/>
              </a:buBlip>
              <a:defRPr sz="2791">
                <a:latin typeface="Georgia" panose="02040502050405020303" pitchFamily="18" charset="0"/>
              </a:defRPr>
            </a:lvl1pPr>
            <a:lvl2pPr marL="215245" indent="-215245" algn="ctr">
              <a:lnSpc>
                <a:spcPct val="99000"/>
              </a:lnSpc>
              <a:buFont typeface="Arial" panose="020B0604020202020204" pitchFamily="34" charset="0"/>
              <a:buChar char="-"/>
              <a:defRPr sz="1993" cap="all" baseline="0">
                <a:latin typeface="Georgia" panose="02040502050405020303" pitchFamily="18" charset="0"/>
              </a:defRPr>
            </a:lvl2pPr>
            <a:lvl3pPr algn="ctr">
              <a:buFontTx/>
              <a:buNone/>
              <a:defRPr/>
            </a:lvl3pPr>
          </a:lstStyle>
          <a:p>
            <a:pPr lvl="0"/>
            <a:r>
              <a:rPr lang="en-GB" dirty="0"/>
              <a:t>Click to add Quote text, for next level ENTER and TAB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06992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vid baggrund"/>
          <p:cNvSpPr/>
          <p:nvPr userDrawn="1"/>
        </p:nvSpPr>
        <p:spPr bwMode="auto">
          <a:xfrm>
            <a:off x="4" y="2"/>
            <a:ext cx="12192000" cy="5897563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126" tIns="45562" rIns="91126" bIns="45562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1202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594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15995" y="230400"/>
            <a:ext cx="11566212" cy="752400"/>
          </a:xfrm>
        </p:spPr>
        <p:txBody>
          <a:bodyPr anchor="t" anchorCtr="0"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10" name="Footer Placeholder 9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998849" y="1853463"/>
            <a:ext cx="6266328" cy="2725288"/>
          </a:xfrm>
        </p:spPr>
        <p:txBody>
          <a:bodyPr/>
          <a:lstStyle>
            <a:lvl1pPr marL="430488" indent="-430488" algn="ctr">
              <a:lnSpc>
                <a:spcPct val="107000"/>
              </a:lnSpc>
              <a:buSzPct val="250000"/>
              <a:buFontTx/>
              <a:buBlip>
                <a:blip r:embed="rId2"/>
              </a:buBlip>
              <a:defRPr sz="2791">
                <a:latin typeface="Georgia" panose="02040502050405020303" pitchFamily="18" charset="0"/>
              </a:defRPr>
            </a:lvl1pPr>
            <a:lvl2pPr marL="215245" indent="-215245" algn="ctr">
              <a:lnSpc>
                <a:spcPct val="99000"/>
              </a:lnSpc>
              <a:buFont typeface="Arial" panose="020B0604020202020204" pitchFamily="34" charset="0"/>
              <a:buChar char="-"/>
              <a:defRPr sz="1993" cap="all" baseline="0">
                <a:latin typeface="Georgia" panose="02040502050405020303" pitchFamily="18" charset="0"/>
              </a:defRPr>
            </a:lvl2pPr>
            <a:lvl3pPr marL="573985" indent="0">
              <a:buNone/>
              <a:defRPr/>
            </a:lvl3pPr>
          </a:lstStyle>
          <a:p>
            <a:pPr lvl="0"/>
            <a:r>
              <a:rPr lang="en-GB" dirty="0"/>
              <a:t>Click to add Quote text, for next level ENTER and TAB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210351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"/>
          <p:cNvSpPr>
            <a:spLocks noGrp="1"/>
          </p:cNvSpPr>
          <p:nvPr>
            <p:ph sz="quarter" idx="12"/>
          </p:nvPr>
        </p:nvSpPr>
        <p:spPr>
          <a:xfrm>
            <a:off x="328698" y="328614"/>
            <a:ext cx="11553659" cy="621347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58736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6" name="TextBox 5"/>
          <p:cNvSpPr txBox="1"/>
          <p:nvPr userDrawn="1"/>
        </p:nvSpPr>
        <p:spPr>
          <a:xfrm>
            <a:off x="-2160915" y="1022478"/>
            <a:ext cx="2013173" cy="4734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</a:pPr>
            <a:r>
              <a:rPr lang="en-GB" sz="996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Ændr 2. linje i overskriften </a:t>
            </a:r>
            <a:br>
              <a:rPr lang="en-GB" sz="996" noProof="1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GB" sz="996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til AU Passata Light</a:t>
            </a:r>
            <a:endParaRPr lang="en-GB" sz="4782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40979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766019" y="1340770"/>
            <a:ext cx="1224455" cy="504056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126" tIns="45562" rIns="91126" bIns="45562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1202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594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8" name="Slide Number Placeholder 7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81300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3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  <p:sp>
        <p:nvSpPr>
          <p:cNvPr id="18" name="Pladsholder til indhold 2">
            <a:extLst>
              <a:ext uri="{FF2B5EF4-FFF2-40B4-BE49-F238E27FC236}">
                <a16:creationId xmlns:a16="http://schemas.microsoft.com/office/drawing/2014/main" id="{AE8B615A-4374-4B91-A191-D1DBD7C8C0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781924" y="2006069"/>
            <a:ext cx="4146723" cy="3831675"/>
          </a:xfrm>
        </p:spPr>
        <p:txBody>
          <a:bodyPr/>
          <a:lstStyle>
            <a:lvl1pPr marL="270000" indent="-270000">
              <a:defRPr baseline="0"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>
                <a:solidFill>
                  <a:srgbClr val="1F4A60"/>
                </a:solidFill>
              </a:defRPr>
            </a:lvl4pPr>
            <a:lvl5pPr marL="1656000" indent="-216000">
              <a:defRPr>
                <a:solidFill>
                  <a:srgbClr val="1F4A60"/>
                </a:solidFill>
              </a:defRPr>
            </a:lvl5pPr>
            <a:lvl6pPr marL="1998000" indent="-180000">
              <a:defRPr>
                <a:solidFill>
                  <a:srgbClr val="1F4A60"/>
                </a:solidFill>
              </a:defRPr>
            </a:lvl6pPr>
            <a:lvl7pPr marL="2358000" indent="-180000">
              <a:defRPr>
                <a:solidFill>
                  <a:srgbClr val="1F4A60"/>
                </a:solidFill>
              </a:defRPr>
            </a:lvl7pPr>
            <a:lvl8pPr marL="2718000" indent="-180000">
              <a:defRPr>
                <a:solidFill>
                  <a:srgbClr val="1F4A60"/>
                </a:solidFill>
              </a:defRPr>
            </a:lvl8pPr>
            <a:lvl9pPr marL="2538000" indent="0">
              <a:buNone/>
              <a:defRPr sz="1000">
                <a:solidFill>
                  <a:srgbClr val="1F4A60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</p:spTree>
    <p:extLst>
      <p:ext uri="{BB962C8B-B14F-4D97-AF65-F5344CB8AC3E}">
        <p14:creationId xmlns:p14="http://schemas.microsoft.com/office/powerpoint/2010/main" val="17961874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arvet baggrund"/>
          <p:cNvSpPr/>
          <p:nvPr userDrawn="1"/>
        </p:nvSpPr>
        <p:spPr>
          <a:xfrm>
            <a:off x="4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82" dirty="0"/>
          </a:p>
        </p:txBody>
      </p:sp>
      <p:pic>
        <p:nvPicPr>
          <p:cNvPr id="4" name="Logo BS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881" y="2229267"/>
            <a:ext cx="2398246" cy="2399468"/>
          </a:xfrm>
          <a:prstGeom prst="rect">
            <a:avLst/>
          </a:prstGeom>
        </p:spPr>
      </p:pic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3"/>
            <a:ext cx="0" cy="770869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803828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arvet baggrund"/>
          <p:cNvSpPr/>
          <p:nvPr userDrawn="1"/>
        </p:nvSpPr>
        <p:spPr>
          <a:xfrm>
            <a:off x="4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82" dirty="0"/>
          </a:p>
        </p:txBody>
      </p:sp>
      <p:pic>
        <p:nvPicPr>
          <p:cNvPr id="7" name="Logo BS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9060" y="2520004"/>
            <a:ext cx="1650805" cy="1650375"/>
          </a:xfrm>
          <a:prstGeom prst="rect">
            <a:avLst/>
          </a:prstGeom>
        </p:spPr>
      </p:pic>
      <p:sp>
        <p:nvSpPr>
          <p:cNvPr id="6" name="OFF_logo2Computed"/>
          <p:cNvSpPr txBox="1">
            <a:spLocks noChangeArrowheads="1"/>
          </p:cNvSpPr>
          <p:nvPr userDrawn="1"/>
        </p:nvSpPr>
        <p:spPr bwMode="auto">
          <a:xfrm>
            <a:off x="4393145" y="2520004"/>
            <a:ext cx="7482862" cy="869657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491503" rIns="0" bIns="0">
            <a:spAutoFit/>
          </a:bodyPr>
          <a:lstStyle/>
          <a:p>
            <a:pPr>
              <a:lnSpc>
                <a:spcPct val="105000"/>
              </a:lnSpc>
              <a:defRPr/>
            </a:pPr>
            <a:endParaRPr lang="en-GB" sz="2293" b="0" cap="all" spc="200" baseline="0" dirty="0">
              <a:solidFill>
                <a:schemeClr val="bg1"/>
              </a:solidFill>
              <a:latin typeface="AU Passata" panose="020B0503030502030804" pitchFamily="34" charset="0"/>
            </a:endParaRPr>
          </a:p>
        </p:txBody>
      </p:sp>
      <p:sp>
        <p:nvSpPr>
          <p:cNvPr id="10" name="OFF_logo1Computed"/>
          <p:cNvSpPr txBox="1">
            <a:spLocks noChangeArrowheads="1"/>
          </p:cNvSpPr>
          <p:nvPr userDrawn="1"/>
        </p:nvSpPr>
        <p:spPr bwMode="auto">
          <a:xfrm>
            <a:off x="4871548" y="2545400"/>
            <a:ext cx="7482862" cy="1606790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21979" rIns="0" bIns="0">
            <a:spAutoFit/>
          </a:bodyPr>
          <a:lstStyle/>
          <a:p>
            <a:pPr>
              <a:lnSpc>
                <a:spcPct val="105000"/>
              </a:lnSpc>
              <a:defRPr/>
            </a:pPr>
            <a:endParaRPr lang="en-GB" sz="2293" b="1" cap="all" spc="100" baseline="0" dirty="0">
              <a:solidFill>
                <a:schemeClr val="bg1"/>
              </a:solidFill>
              <a:latin typeface="AU Passata" panose="020B0503030502030804" pitchFamily="34" charset="0"/>
            </a:endParaRPr>
          </a:p>
          <a:p>
            <a:pPr>
              <a:lnSpc>
                <a:spcPct val="105000"/>
              </a:lnSpc>
              <a:defRPr/>
            </a:pPr>
            <a:endParaRPr lang="en-GB" sz="2293" b="1" cap="all" spc="100" baseline="0" dirty="0">
              <a:solidFill>
                <a:schemeClr val="bg1"/>
              </a:solidFill>
              <a:latin typeface="AU Passata" panose="020B0503030502030804" pitchFamily="34" charset="0"/>
            </a:endParaRPr>
          </a:p>
          <a:p>
            <a:pPr>
              <a:lnSpc>
                <a:spcPct val="105000"/>
              </a:lnSpc>
              <a:defRPr/>
            </a:pPr>
            <a:r>
              <a:rPr lang="en-GB" sz="2293" b="1" cap="all" spc="100" baseline="0" dirty="0">
                <a:solidFill>
                  <a:schemeClr val="bg1"/>
                </a:solidFill>
                <a:latin typeface="AU Passata" panose="020B0503030502030804" pitchFamily="34" charset="0"/>
              </a:rPr>
              <a:t>INSTITUT FOR STATSKUNDSKAB</a:t>
            </a:r>
          </a:p>
          <a:p>
            <a:pPr>
              <a:lnSpc>
                <a:spcPct val="105000"/>
              </a:lnSpc>
              <a:defRPr/>
            </a:pPr>
            <a:r>
              <a:rPr lang="en-GB" sz="2293" b="0" cap="all" spc="100" baseline="0" dirty="0">
                <a:solidFill>
                  <a:schemeClr val="bg1"/>
                </a:solidFill>
                <a:latin typeface="AU Passata" panose="020B0503030502030804" pitchFamily="34" charset="0"/>
              </a:rPr>
              <a:t>AARHUS UNIVERSITET</a:t>
            </a:r>
          </a:p>
        </p:txBody>
      </p:sp>
      <p:sp>
        <p:nvSpPr>
          <p:cNvPr id="9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11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3"/>
            <a:ext cx="0" cy="770869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6701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 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arvet baggrund"/>
          <p:cNvSpPr/>
          <p:nvPr userDrawn="1"/>
        </p:nvSpPr>
        <p:spPr>
          <a:xfrm>
            <a:off x="4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82" dirty="0"/>
          </a:p>
        </p:txBody>
      </p:sp>
      <p:sp>
        <p:nvSpPr>
          <p:cNvPr id="6" name="OFF_logo2Computed"/>
          <p:cNvSpPr txBox="1">
            <a:spLocks noChangeArrowheads="1"/>
          </p:cNvSpPr>
          <p:nvPr userDrawn="1"/>
        </p:nvSpPr>
        <p:spPr bwMode="auto">
          <a:xfrm>
            <a:off x="4393145" y="2520004"/>
            <a:ext cx="7482862" cy="869657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491503" rIns="0" bIns="0">
            <a:spAutoFit/>
          </a:bodyPr>
          <a:lstStyle/>
          <a:p>
            <a:pPr>
              <a:lnSpc>
                <a:spcPct val="105000"/>
              </a:lnSpc>
              <a:defRPr/>
            </a:pPr>
            <a:endParaRPr lang="en-GB" sz="2293" b="0" cap="all" spc="200" baseline="0" dirty="0">
              <a:solidFill>
                <a:schemeClr val="bg1"/>
              </a:solidFill>
              <a:latin typeface="AU Passata" panose="020B0503030502030804" pitchFamily="34" charset="0"/>
            </a:endParaRPr>
          </a:p>
        </p:txBody>
      </p:sp>
      <p:sp>
        <p:nvSpPr>
          <p:cNvPr id="9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11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3"/>
            <a:ext cx="0" cy="770869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3FF57DD2-E465-D142-901B-8F8B5CD4A9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962" y="1066366"/>
            <a:ext cx="9630246" cy="4420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88492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tekst 6"/>
          <p:cNvSpPr>
            <a:spLocks noGrp="1"/>
          </p:cNvSpPr>
          <p:nvPr>
            <p:ph type="body" sz="quarter" idx="10"/>
          </p:nvPr>
        </p:nvSpPr>
        <p:spPr>
          <a:xfrm>
            <a:off x="623392" y="1412786"/>
            <a:ext cx="10849205" cy="352839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24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623392" y="202631"/>
            <a:ext cx="10849205" cy="706090"/>
          </a:xfrm>
        </p:spPr>
        <p:txBody>
          <a:bodyPr/>
          <a:lstStyle>
            <a:lvl1pPr>
              <a:defRPr sz="2691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6932765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Farvet baggrund"/>
          <p:cNvPicPr preferRelativeResize="0"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2192000" cy="685800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34819" name="Title 1"/>
          <p:cNvSpPr>
            <a:spLocks noGrp="1" noChangeArrowheads="1"/>
          </p:cNvSpPr>
          <p:nvPr>
            <p:ph type="ctrTitle"/>
          </p:nvPr>
        </p:nvSpPr>
        <p:spPr>
          <a:xfrm>
            <a:off x="986096" y="2482345"/>
            <a:ext cx="10222987" cy="1661993"/>
          </a:xfrm>
        </p:spPr>
        <p:txBody>
          <a:bodyPr wrap="square" anchor="ctr" anchorCtr="0">
            <a:spAutoFit/>
          </a:bodyPr>
          <a:lstStyle>
            <a:lvl1pPr>
              <a:lnSpc>
                <a:spcPct val="90000"/>
              </a:lnSpc>
              <a:defRPr sz="5991" baseline="0">
                <a:solidFill>
                  <a:schemeClr val="bg1"/>
                </a:solidFill>
                <a:latin typeface="AU Passata Light" panose="020B03030309020308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1974112" y="3082508"/>
            <a:ext cx="182636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998" baseline="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Ændr 2. linje eller ord til</a:t>
            </a:r>
            <a:endParaRPr lang="en-GB" sz="1798" dirty="0"/>
          </a:p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AU Passata Bold</a:t>
            </a:r>
            <a:endParaRPr lang="en-GB" sz="4791" dirty="0"/>
          </a:p>
        </p:txBody>
      </p:sp>
      <p:pic>
        <p:nvPicPr>
          <p:cNvPr id="14" name="Logo BS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7" y="5997602"/>
            <a:ext cx="600892" cy="601199"/>
          </a:xfrm>
          <a:prstGeom prst="rect">
            <a:avLst/>
          </a:prstGeom>
        </p:spPr>
      </p:pic>
      <p:sp>
        <p:nvSpPr>
          <p:cNvPr id="16" name="OFF_logo2Computed"/>
          <p:cNvSpPr txBox="1">
            <a:spLocks noChangeArrowheads="1"/>
          </p:cNvSpPr>
          <p:nvPr userDrawn="1"/>
        </p:nvSpPr>
        <p:spPr bwMode="auto">
          <a:xfrm>
            <a:off x="972255" y="5997602"/>
            <a:ext cx="2350657" cy="447851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68931" rIns="0" bIns="0">
            <a:spAutoFit/>
          </a:bodyPr>
          <a:lstStyle/>
          <a:p>
            <a:pPr>
              <a:lnSpc>
                <a:spcPct val="100000"/>
              </a:lnSpc>
              <a:defRPr/>
            </a:pPr>
            <a:endParaRPr lang="en-GB" sz="898" cap="all" spc="40" baseline="0" dirty="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00000"/>
              </a:lnSpc>
              <a:defRPr/>
            </a:pPr>
            <a:endParaRPr lang="en-GB" sz="898" cap="all" spc="4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5" name="OFF_logo1Computed">
            <a:extLst>
              <a:ext uri="{FF2B5EF4-FFF2-40B4-BE49-F238E27FC236}">
                <a16:creationId xmlns:a16="http://schemas.microsoft.com/office/drawing/2014/main" id="{76394C7A-7F05-BF47-B9F2-31A5C83539FE}"/>
              </a:ext>
            </a:extLst>
          </p:cNvPr>
          <p:cNvSpPr/>
          <p:nvPr userDrawn="1"/>
        </p:nvSpPr>
        <p:spPr bwMode="auto">
          <a:xfrm>
            <a:off x="972254" y="6007004"/>
            <a:ext cx="1866381" cy="590092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35942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29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8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9129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8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9129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8" b="1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INSTITUT FOR STATSKUNDSKAB</a:t>
            </a:r>
          </a:p>
          <a:p>
            <a:pPr marL="0" marR="0" indent="0" algn="l" defTabSz="9129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8" b="0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AARHUS UNIVERSITET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3F20AD3C-DDCD-3743-AC79-5A832C88AA4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7431" y="-6149641"/>
            <a:ext cx="10629138" cy="12199072"/>
          </a:xfrm>
          <a:prstGeom prst="rect">
            <a:avLst/>
          </a:prstGeom>
        </p:spPr>
      </p:pic>
      <p:pic>
        <p:nvPicPr>
          <p:cNvPr id="20" name="Billede 19">
            <a:extLst>
              <a:ext uri="{FF2B5EF4-FFF2-40B4-BE49-F238E27FC236}">
                <a16:creationId xmlns:a16="http://schemas.microsoft.com/office/drawing/2014/main" id="{F39DCE25-406B-F849-971B-3B95A143E51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509" y="5557202"/>
            <a:ext cx="3817418" cy="175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29068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arvet baggrund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91" dirty="0"/>
          </a:p>
        </p:txBody>
      </p:sp>
      <p:sp>
        <p:nvSpPr>
          <p:cNvPr id="19" name="White Top Rectangle"/>
          <p:cNvSpPr>
            <a:spLocks noChangeArrowheads="1"/>
          </p:cNvSpPr>
          <p:nvPr userDrawn="1"/>
        </p:nvSpPr>
        <p:spPr bwMode="auto">
          <a:xfrm>
            <a:off x="986096" y="3443622"/>
            <a:ext cx="648169" cy="46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4791" dirty="0"/>
          </a:p>
        </p:txBody>
      </p:sp>
      <p:sp>
        <p:nvSpPr>
          <p:cNvPr id="34819" name="Title 1"/>
          <p:cNvSpPr>
            <a:spLocks noGrp="1" noChangeArrowheads="1"/>
          </p:cNvSpPr>
          <p:nvPr>
            <p:ph type="ctrTitle"/>
          </p:nvPr>
        </p:nvSpPr>
        <p:spPr>
          <a:xfrm>
            <a:off x="982101" y="1520317"/>
            <a:ext cx="9545793" cy="1779553"/>
          </a:xfrm>
        </p:spPr>
        <p:txBody>
          <a:bodyPr wrap="square" anchor="b" anchorCtr="0">
            <a:noAutofit/>
          </a:bodyPr>
          <a:lstStyle>
            <a:lvl1pPr>
              <a:lnSpc>
                <a:spcPct val="90000"/>
              </a:lnSpc>
              <a:defRPr sz="5991" baseline="0">
                <a:solidFill>
                  <a:schemeClr val="bg1"/>
                </a:solidFill>
                <a:latin typeface="AU Passata Light" panose="020B03030309020308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86096" y="3715433"/>
            <a:ext cx="7163077" cy="1746085"/>
          </a:xfrm>
        </p:spPr>
        <p:txBody>
          <a:bodyPr/>
          <a:lstStyle>
            <a:lvl1pPr marL="0" indent="0">
              <a:lnSpc>
                <a:spcPct val="101000"/>
              </a:lnSpc>
              <a:buFontTx/>
              <a:buNone/>
              <a:defRPr sz="2696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2160916" y="2132856"/>
            <a:ext cx="2013173" cy="738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Ændr 2. linje i overskriften </a:t>
            </a:r>
            <a:b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til AU Passata bold</a:t>
            </a:r>
            <a:endParaRPr lang="en-GB" sz="4791" dirty="0"/>
          </a:p>
        </p:txBody>
      </p:sp>
      <p:pic>
        <p:nvPicPr>
          <p:cNvPr id="18" name="Logo BS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7" y="5997602"/>
            <a:ext cx="600892" cy="601199"/>
          </a:xfrm>
          <a:prstGeom prst="rect">
            <a:avLst/>
          </a:prstGeom>
        </p:spPr>
      </p:pic>
      <p:sp>
        <p:nvSpPr>
          <p:cNvPr id="17" name="OFF_logo2Computed"/>
          <p:cNvSpPr txBox="1">
            <a:spLocks noChangeArrowheads="1"/>
          </p:cNvSpPr>
          <p:nvPr userDrawn="1"/>
        </p:nvSpPr>
        <p:spPr bwMode="auto">
          <a:xfrm>
            <a:off x="972255" y="5997602"/>
            <a:ext cx="2350657" cy="447851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68931" rIns="0" bIns="0">
            <a:spAutoFit/>
          </a:bodyPr>
          <a:lstStyle/>
          <a:p>
            <a:pPr>
              <a:lnSpc>
                <a:spcPct val="100000"/>
              </a:lnSpc>
              <a:defRPr/>
            </a:pPr>
            <a:endParaRPr lang="en-GB" sz="898" cap="all" spc="40" baseline="0" dirty="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00000"/>
              </a:lnSpc>
              <a:defRPr/>
            </a:pPr>
            <a:endParaRPr lang="en-GB" sz="898" cap="all" spc="4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4" name="OFF_logo1Computed">
            <a:extLst>
              <a:ext uri="{FF2B5EF4-FFF2-40B4-BE49-F238E27FC236}">
                <a16:creationId xmlns:a16="http://schemas.microsoft.com/office/drawing/2014/main" id="{D90FCB66-191C-9349-8604-080297494FC7}"/>
              </a:ext>
            </a:extLst>
          </p:cNvPr>
          <p:cNvSpPr/>
          <p:nvPr userDrawn="1"/>
        </p:nvSpPr>
        <p:spPr bwMode="auto">
          <a:xfrm>
            <a:off x="972254" y="6007004"/>
            <a:ext cx="1866381" cy="590092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35942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29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8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9129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8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9129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8" b="1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INSTITUT FOR STATSKUNDSKAB</a:t>
            </a:r>
          </a:p>
          <a:p>
            <a:pPr marL="0" marR="0" indent="0" algn="l" defTabSz="9129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8" b="0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AARHUS UNIVERSITET</a:t>
            </a:r>
          </a:p>
        </p:txBody>
      </p:sp>
      <p:pic>
        <p:nvPicPr>
          <p:cNvPr id="24" name="Billede 23">
            <a:extLst>
              <a:ext uri="{FF2B5EF4-FFF2-40B4-BE49-F238E27FC236}">
                <a16:creationId xmlns:a16="http://schemas.microsoft.com/office/drawing/2014/main" id="{F807BD2F-53D4-0B48-9E07-8F17CB30AE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509" y="5557202"/>
            <a:ext cx="3817418" cy="175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19354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arvet baggrund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91" dirty="0"/>
          </a:p>
        </p:txBody>
      </p:sp>
      <p:sp>
        <p:nvSpPr>
          <p:cNvPr id="34819" name="Title 1"/>
          <p:cNvSpPr>
            <a:spLocks noGrp="1" noChangeArrowheads="1"/>
          </p:cNvSpPr>
          <p:nvPr>
            <p:ph type="ctrTitle"/>
          </p:nvPr>
        </p:nvSpPr>
        <p:spPr>
          <a:xfrm>
            <a:off x="986096" y="2482345"/>
            <a:ext cx="10222987" cy="1661993"/>
          </a:xfrm>
        </p:spPr>
        <p:txBody>
          <a:bodyPr wrap="square" anchor="ctr" anchorCtr="0">
            <a:spAutoFit/>
          </a:bodyPr>
          <a:lstStyle>
            <a:lvl1pPr>
              <a:lnSpc>
                <a:spcPct val="90000"/>
              </a:lnSpc>
              <a:defRPr sz="5991" baseline="0">
                <a:solidFill>
                  <a:schemeClr val="bg1"/>
                </a:solidFill>
                <a:latin typeface="AU Passata Light" panose="020B03030309020308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1974112" y="3082508"/>
            <a:ext cx="182636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998" baseline="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Ændr 2. linje eller ord til</a:t>
            </a:r>
            <a:endParaRPr lang="en-GB" sz="1798" dirty="0"/>
          </a:p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AU Passata Bold</a:t>
            </a:r>
            <a:endParaRPr lang="en-GB" sz="4791" dirty="0"/>
          </a:p>
        </p:txBody>
      </p:sp>
      <p:pic>
        <p:nvPicPr>
          <p:cNvPr id="23" name="Billed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4783" y="5997602"/>
            <a:ext cx="71753" cy="557999"/>
          </a:xfrm>
          <a:prstGeom prst="rect">
            <a:avLst/>
          </a:prstGeom>
        </p:spPr>
      </p:pic>
      <p:pic>
        <p:nvPicPr>
          <p:cNvPr id="16" name="Logo BS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7" y="5997602"/>
            <a:ext cx="600892" cy="601199"/>
          </a:xfrm>
          <a:prstGeom prst="rect">
            <a:avLst/>
          </a:prstGeom>
        </p:spPr>
      </p:pic>
      <p:sp>
        <p:nvSpPr>
          <p:cNvPr id="17" name="OFF_logo2Computed"/>
          <p:cNvSpPr txBox="1">
            <a:spLocks noChangeArrowheads="1"/>
          </p:cNvSpPr>
          <p:nvPr userDrawn="1"/>
        </p:nvSpPr>
        <p:spPr bwMode="auto">
          <a:xfrm>
            <a:off x="972255" y="5997602"/>
            <a:ext cx="2350657" cy="447851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68931" rIns="0" bIns="0">
            <a:spAutoFit/>
          </a:bodyPr>
          <a:lstStyle/>
          <a:p>
            <a:pPr>
              <a:lnSpc>
                <a:spcPct val="100000"/>
              </a:lnSpc>
              <a:defRPr/>
            </a:pPr>
            <a:endParaRPr lang="en-GB" sz="898" cap="all" spc="40" baseline="0" dirty="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00000"/>
              </a:lnSpc>
              <a:defRPr/>
            </a:pPr>
            <a:endParaRPr lang="en-GB" sz="898" cap="all" spc="4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9" name="Date_DateCustomA">
            <a:extLst>
              <a:ext uri="{FF2B5EF4-FFF2-40B4-BE49-F238E27FC236}">
                <a16:creationId xmlns:a16="http://schemas.microsoft.com/office/drawing/2014/main" id="{39E94D8C-5906-5243-B2B8-14863ACA416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92294" y="5997600"/>
            <a:ext cx="2272432" cy="58217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474444" rIns="0" bIns="0" anchor="t" anchorCtr="0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GB" sz="699" b="0" cap="all" baseline="0" dirty="0">
                <a:solidFill>
                  <a:schemeClr val="bg1"/>
                </a:solidFill>
                <a:latin typeface="+mn-lt"/>
              </a:rPr>
              <a:t>DATE</a:t>
            </a:r>
          </a:p>
        </p:txBody>
      </p:sp>
      <p:sp>
        <p:nvSpPr>
          <p:cNvPr id="20" name="USR_Title">
            <a:extLst>
              <a:ext uri="{FF2B5EF4-FFF2-40B4-BE49-F238E27FC236}">
                <a16:creationId xmlns:a16="http://schemas.microsoft.com/office/drawing/2014/main" id="{C89BF9DB-1346-114F-9332-18E99C5D2C0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241669" y="5997600"/>
            <a:ext cx="2983193" cy="58217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lIns="0" tIns="474444" rIns="0" bIns="0" anchor="t" anchorCtr="0">
            <a:spAutoFit/>
          </a:bodyPr>
          <a:lstStyle/>
          <a:p>
            <a:pPr algn="l">
              <a:lnSpc>
                <a:spcPct val="95000"/>
              </a:lnSpc>
              <a:defRPr/>
            </a:pPr>
            <a:r>
              <a:rPr lang="en-GB" sz="699" b="0" cap="all" baseline="0" dirty="0">
                <a:solidFill>
                  <a:schemeClr val="bg1"/>
                </a:solidFill>
                <a:latin typeface="+mn-lt"/>
              </a:rPr>
              <a:t>TITLE</a:t>
            </a:r>
          </a:p>
        </p:txBody>
      </p:sp>
      <p:sp>
        <p:nvSpPr>
          <p:cNvPr id="21" name="FLD_Event">
            <a:extLst>
              <a:ext uri="{FF2B5EF4-FFF2-40B4-BE49-F238E27FC236}">
                <a16:creationId xmlns:a16="http://schemas.microsoft.com/office/drawing/2014/main" id="{9D885253-00F6-4B48-A022-D4BA3A36F2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92294" y="5997600"/>
            <a:ext cx="2272432" cy="44767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341456" rIns="0" bIns="0" anchor="t" anchorCtr="0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GB" sz="699" b="0" kern="1200" cap="all" baseline="0" dirty="0">
                <a:solidFill>
                  <a:schemeClr val="bg1"/>
                </a:solidFill>
                <a:latin typeface="AU Passata" pitchFamily="34" charset="0"/>
                <a:ea typeface="+mn-ea"/>
                <a:cs typeface="+mn-cs"/>
              </a:rPr>
              <a:t>EVENT</a:t>
            </a:r>
          </a:p>
        </p:txBody>
      </p:sp>
      <p:sp>
        <p:nvSpPr>
          <p:cNvPr id="24" name="USR_Name">
            <a:extLst>
              <a:ext uri="{FF2B5EF4-FFF2-40B4-BE49-F238E27FC236}">
                <a16:creationId xmlns:a16="http://schemas.microsoft.com/office/drawing/2014/main" id="{906037FE-CD0B-D246-ADAE-BD593819FD9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241669" y="5997600"/>
            <a:ext cx="2983193" cy="444040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lIns="0" tIns="341456" rIns="0" bIns="0" anchor="t" anchorCtr="0">
            <a:spAutoFit/>
          </a:bodyPr>
          <a:lstStyle/>
          <a:p>
            <a:pPr algn="l">
              <a:lnSpc>
                <a:spcPct val="95000"/>
              </a:lnSpc>
              <a:defRPr/>
            </a:pPr>
            <a:r>
              <a:rPr lang="en-GB" sz="699" b="0" cap="all" baseline="0" dirty="0">
                <a:solidFill>
                  <a:schemeClr val="bg1"/>
                </a:solidFill>
                <a:latin typeface="+mn-lt"/>
              </a:rPr>
              <a:t>NAME</a:t>
            </a:r>
          </a:p>
        </p:txBody>
      </p:sp>
      <p:sp>
        <p:nvSpPr>
          <p:cNvPr id="30" name="OFF_logo1Computed">
            <a:extLst>
              <a:ext uri="{FF2B5EF4-FFF2-40B4-BE49-F238E27FC236}">
                <a16:creationId xmlns:a16="http://schemas.microsoft.com/office/drawing/2014/main" id="{8A93CCFD-650B-1341-8C31-3270BB6359CF}"/>
              </a:ext>
            </a:extLst>
          </p:cNvPr>
          <p:cNvSpPr/>
          <p:nvPr userDrawn="1"/>
        </p:nvSpPr>
        <p:spPr bwMode="auto">
          <a:xfrm>
            <a:off x="972253" y="6007004"/>
            <a:ext cx="2180652" cy="590092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35942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29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8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9129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8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9129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8" b="1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DEPARTMENT OF POLITICAL SCIENCE</a:t>
            </a:r>
          </a:p>
          <a:p>
            <a:pPr marL="0" marR="0" indent="0" algn="l" defTabSz="9129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8" b="0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AARHUS UNIVERSITY</a:t>
            </a:r>
          </a:p>
        </p:txBody>
      </p:sp>
      <p:pic>
        <p:nvPicPr>
          <p:cNvPr id="25" name="Billede 24">
            <a:extLst>
              <a:ext uri="{FF2B5EF4-FFF2-40B4-BE49-F238E27FC236}">
                <a16:creationId xmlns:a16="http://schemas.microsoft.com/office/drawing/2014/main" id="{2089D777-7D3E-D24B-874B-DE85152B78C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509" y="5557202"/>
            <a:ext cx="3817418" cy="175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26570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6096" y="1960079"/>
            <a:ext cx="10222987" cy="3937484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-1974112" y="340163"/>
            <a:ext cx="1826368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Overskrift to</a:t>
            </a:r>
            <a:r>
              <a:rPr lang="en-GB" sz="998" baseline="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 linjer </a:t>
            </a:r>
            <a:endParaRPr lang="en-GB" sz="1798" dirty="0"/>
          </a:p>
          <a:p>
            <a:pPr algn="r">
              <a:lnSpc>
                <a:spcPct val="100000"/>
              </a:lnSpc>
            </a:pPr>
            <a:r>
              <a:rPr lang="en-GB" sz="998" baseline="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ændr 2. linje til</a:t>
            </a:r>
            <a:endParaRPr lang="en-GB" sz="1798" dirty="0"/>
          </a:p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AU Passata Bold</a:t>
            </a:r>
            <a:endParaRPr lang="en-GB" sz="4791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280663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ine title and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vid baggrund"/>
          <p:cNvSpPr/>
          <p:nvPr userDrawn="1"/>
        </p:nvSpPr>
        <p:spPr bwMode="auto">
          <a:xfrm>
            <a:off x="0" y="0"/>
            <a:ext cx="12196376" cy="5894387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295" tIns="45647" rIns="91295" bIns="456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2937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597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16" name="Black Rectangle"/>
          <p:cNvSpPr/>
          <p:nvPr userDrawn="1"/>
        </p:nvSpPr>
        <p:spPr>
          <a:xfrm>
            <a:off x="990258" y="1045685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91" dirty="0"/>
          </a:p>
          <a:p>
            <a:pPr algn="ctr"/>
            <a:endParaRPr lang="en-GB" sz="4791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15995" y="228628"/>
            <a:ext cx="11559010" cy="752101"/>
          </a:xfrm>
        </p:spPr>
        <p:txBody>
          <a:bodyPr anchor="t" anchorCtr="0"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6096" y="1373021"/>
            <a:ext cx="10222987" cy="4521366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18" name="TextBox 17"/>
          <p:cNvSpPr txBox="1"/>
          <p:nvPr userDrawn="1"/>
        </p:nvSpPr>
        <p:spPr>
          <a:xfrm>
            <a:off x="-1974112" y="340163"/>
            <a:ext cx="182636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Overskrift én linje</a:t>
            </a:r>
            <a:endParaRPr lang="en-GB" sz="1798" dirty="0"/>
          </a:p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Light eller AU Passata Bold</a:t>
            </a:r>
            <a:endParaRPr lang="en-GB" sz="4791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6852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5">
          <p15:clr>
            <a:srgbClr val="00000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vid baggrund"/>
          <p:cNvSpPr/>
          <p:nvPr userDrawn="1"/>
        </p:nvSpPr>
        <p:spPr bwMode="auto">
          <a:xfrm>
            <a:off x="0" y="0"/>
            <a:ext cx="12196376" cy="5911200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295" tIns="45647" rIns="91295" bIns="456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2937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597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15" name="Black Rectangle"/>
          <p:cNvSpPr/>
          <p:nvPr userDrawn="1"/>
        </p:nvSpPr>
        <p:spPr>
          <a:xfrm>
            <a:off x="990258" y="1045685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91" dirty="0"/>
          </a:p>
          <a:p>
            <a:pPr algn="ctr"/>
            <a:endParaRPr lang="en-GB" sz="4791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6884" y="230400"/>
            <a:ext cx="5645733" cy="752400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GB" dirty="0"/>
              <a:t>Insert title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986096" y="1371601"/>
            <a:ext cx="4976521" cy="4525964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31821" y="315913"/>
            <a:ext cx="5645580" cy="558165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-1974112" y="340163"/>
            <a:ext cx="182636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Overskrift én linje</a:t>
            </a:r>
            <a:endParaRPr lang="en-GB" sz="1798" dirty="0"/>
          </a:p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Light eller AU Passata Bold</a:t>
            </a:r>
            <a:endParaRPr lang="en-GB" sz="4791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3453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4">
          <p15:clr>
            <a:srgbClr val="A4A3A4"/>
          </p15:clr>
        </p15:guide>
        <p15:guide id="2" pos="3755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  <p:sp>
        <p:nvSpPr>
          <p:cNvPr id="18" name="Pladsholder til indhold 2">
            <a:extLst>
              <a:ext uri="{FF2B5EF4-FFF2-40B4-BE49-F238E27FC236}">
                <a16:creationId xmlns:a16="http://schemas.microsoft.com/office/drawing/2014/main" id="{AE8B615A-4374-4B91-A191-D1DBD7C8C0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781924" y="2006069"/>
            <a:ext cx="4146723" cy="3831675"/>
          </a:xfrm>
        </p:spPr>
        <p:txBody>
          <a:bodyPr/>
          <a:lstStyle>
            <a:lvl1pPr marL="270000" indent="-270000">
              <a:defRPr baseline="0"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>
                <a:solidFill>
                  <a:srgbClr val="1F4A60"/>
                </a:solidFill>
              </a:defRPr>
            </a:lvl4pPr>
            <a:lvl5pPr marL="1656000" indent="-216000">
              <a:defRPr>
                <a:solidFill>
                  <a:srgbClr val="1F4A60"/>
                </a:solidFill>
              </a:defRPr>
            </a:lvl5pPr>
            <a:lvl6pPr marL="1998000" indent="-180000">
              <a:defRPr>
                <a:solidFill>
                  <a:srgbClr val="1F4A60"/>
                </a:solidFill>
              </a:defRPr>
            </a:lvl6pPr>
            <a:lvl7pPr marL="2358000" indent="-180000">
              <a:defRPr>
                <a:solidFill>
                  <a:srgbClr val="1F4A60"/>
                </a:solidFill>
              </a:defRPr>
            </a:lvl7pPr>
            <a:lvl8pPr marL="2718000" indent="-180000">
              <a:defRPr>
                <a:solidFill>
                  <a:srgbClr val="1F4A60"/>
                </a:solidFill>
              </a:defRPr>
            </a:lvl8pPr>
            <a:lvl9pPr marL="2538000" indent="0">
              <a:buNone/>
              <a:defRPr sz="1000">
                <a:solidFill>
                  <a:srgbClr val="1F4A60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</p:spTree>
    <p:extLst>
      <p:ext uri="{BB962C8B-B14F-4D97-AF65-F5344CB8AC3E}">
        <p14:creationId xmlns:p14="http://schemas.microsoft.com/office/powerpoint/2010/main" val="331838009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al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vid baggrund"/>
          <p:cNvSpPr/>
          <p:nvPr userDrawn="1"/>
        </p:nvSpPr>
        <p:spPr bwMode="auto">
          <a:xfrm>
            <a:off x="0" y="2"/>
            <a:ext cx="12196376" cy="5911011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295" tIns="45647" rIns="91295" bIns="456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2937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597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15" name="Black Rectangle"/>
          <p:cNvSpPr/>
          <p:nvPr userDrawn="1"/>
        </p:nvSpPr>
        <p:spPr>
          <a:xfrm>
            <a:off x="1001336" y="2694542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91" dirty="0"/>
          </a:p>
          <a:p>
            <a:pPr algn="ctr"/>
            <a:endParaRPr lang="en-GB" sz="479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096" y="1484784"/>
            <a:ext cx="4976521" cy="971980"/>
          </a:xfrm>
        </p:spPr>
        <p:txBody>
          <a:bodyPr anchor="b" anchorCtr="0"/>
          <a:lstStyle>
            <a:lvl1pPr>
              <a:lnSpc>
                <a:spcPct val="95000"/>
              </a:lnSpc>
              <a:defRPr sz="2995">
                <a:latin typeface="+mn-lt"/>
              </a:defRPr>
            </a:lvl1pPr>
          </a:lstStyle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986096" y="3010712"/>
            <a:ext cx="4976521" cy="1858449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dirty="0"/>
              <a:t>6</a:t>
            </a:r>
            <a:endParaRPr lang="en-GB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33223" y="315913"/>
            <a:ext cx="5646270" cy="55836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-1974112" y="1780882"/>
            <a:ext cx="182636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Overskrift to</a:t>
            </a:r>
            <a:r>
              <a:rPr lang="en-GB" sz="998" baseline="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 linjer</a:t>
            </a:r>
            <a:endParaRPr lang="en-GB" sz="1798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4165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0">
          <p15:clr>
            <a:srgbClr val="A4A3A4"/>
          </p15:clr>
        </p15:guide>
        <p15:guide id="2" pos="3755">
          <p15:clr>
            <a:srgbClr val="A4A3A4"/>
          </p15:clr>
        </p15:guide>
        <p15:guide id="3" orient="horz" pos="3069">
          <p15:clr>
            <a:srgbClr val="A4A3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"/>
          <p:cNvSpPr>
            <a:spLocks noGrp="1"/>
          </p:cNvSpPr>
          <p:nvPr>
            <p:ph type="pic" sz="quarter" idx="11" hasCustomPrompt="1"/>
          </p:nvPr>
        </p:nvSpPr>
        <p:spPr>
          <a:xfrm>
            <a:off x="316884" y="316800"/>
            <a:ext cx="11562611" cy="55836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732099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1" hasCustomPrompt="1"/>
          </p:nvPr>
        </p:nvSpPr>
        <p:spPr>
          <a:xfrm>
            <a:off x="316883" y="316800"/>
            <a:ext cx="5646270" cy="55836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233223" y="316800"/>
            <a:ext cx="5646270" cy="55836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8529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4">
          <p15:clr>
            <a:srgbClr val="A4A3A4"/>
          </p15:clr>
        </p15:guide>
        <p15:guide id="2" pos="3754">
          <p15:clr>
            <a:srgbClr val="A4A3A4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1" hasCustomPrompt="1"/>
          </p:nvPr>
        </p:nvSpPr>
        <p:spPr>
          <a:xfrm>
            <a:off x="316883" y="316800"/>
            <a:ext cx="5646270" cy="26532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316883" y="3237373"/>
            <a:ext cx="5646270" cy="26532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33223" y="316800"/>
            <a:ext cx="5646270" cy="55836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9" name="Footer Placeholder 8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3737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2">
          <p15:clr>
            <a:srgbClr val="A4A3A4"/>
          </p15:clr>
        </p15:guide>
        <p15:guide id="2" pos="3755">
          <p15:clr>
            <a:srgbClr val="A4A3A4"/>
          </p15:clr>
        </p15:guide>
        <p15:guide id="3" orient="horz" pos="2039">
          <p15:clr>
            <a:srgbClr val="A4A3A4"/>
          </p15:clr>
        </p15:guide>
        <p15:guide id="4" orient="horz" pos="1872">
          <p15:clr>
            <a:srgbClr val="A4A3A4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>
          <a:xfrm>
            <a:off x="316883" y="316800"/>
            <a:ext cx="5646270" cy="55836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233223" y="316800"/>
            <a:ext cx="5646270" cy="26532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33223" y="3237373"/>
            <a:ext cx="5646270" cy="26532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9" name="Footer Placeholder 8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629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2">
          <p15:clr>
            <a:srgbClr val="A4A3A4"/>
          </p15:clr>
        </p15:guide>
        <p15:guide id="2" pos="3755">
          <p15:clr>
            <a:srgbClr val="A4A3A4"/>
          </p15:clr>
        </p15:guide>
        <p15:guide id="3" orient="horz" pos="2039">
          <p15:clr>
            <a:srgbClr val="A4A3A4"/>
          </p15:clr>
        </p15:guide>
        <p15:guide id="4" orient="horz" pos="1872">
          <p15:clr>
            <a:srgbClr val="A4A3A4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315996" y="315914"/>
            <a:ext cx="11560010" cy="6220354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739102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vid baggrund"/>
          <p:cNvSpPr/>
          <p:nvPr userDrawn="1"/>
        </p:nvSpPr>
        <p:spPr bwMode="auto">
          <a:xfrm>
            <a:off x="2" y="1"/>
            <a:ext cx="12192000" cy="5897563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95" tIns="45647" rIns="91295" bIns="45647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2937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597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Text Placeholder 61"/>
          <p:cNvSpPr>
            <a:spLocks noGrp="1"/>
          </p:cNvSpPr>
          <p:nvPr>
            <p:ph type="body" sz="quarter" idx="16" hasCustomPrompt="1"/>
          </p:nvPr>
        </p:nvSpPr>
        <p:spPr>
          <a:xfrm>
            <a:off x="1846422" y="1412776"/>
            <a:ext cx="8499157" cy="3744416"/>
          </a:xfrm>
        </p:spPr>
        <p:txBody>
          <a:bodyPr/>
          <a:lstStyle>
            <a:lvl1pPr marL="431308" indent="-431308" algn="ctr">
              <a:lnSpc>
                <a:spcPct val="107000"/>
              </a:lnSpc>
              <a:buSzPct val="250000"/>
              <a:buFontTx/>
              <a:buBlip>
                <a:blip r:embed="rId2"/>
              </a:buBlip>
              <a:defRPr sz="2796">
                <a:latin typeface="Georgia" panose="02040502050405020303" pitchFamily="18" charset="0"/>
              </a:defRPr>
            </a:lvl1pPr>
            <a:lvl2pPr marL="215655" indent="-215655" algn="ctr">
              <a:lnSpc>
                <a:spcPct val="99000"/>
              </a:lnSpc>
              <a:buFont typeface="Arial" panose="020B0604020202020204" pitchFamily="34" charset="0"/>
              <a:buChar char="-"/>
              <a:defRPr sz="1997" cap="all" baseline="0">
                <a:latin typeface="Georgia" panose="02040502050405020303" pitchFamily="18" charset="0"/>
              </a:defRPr>
            </a:lvl2pPr>
            <a:lvl3pPr algn="ctr">
              <a:buFontTx/>
              <a:buNone/>
              <a:defRPr/>
            </a:lvl3pPr>
          </a:lstStyle>
          <a:p>
            <a:pPr lvl="0"/>
            <a:r>
              <a:rPr lang="en-GB" dirty="0"/>
              <a:t>Click to add Quote text, for next level ENTER and TAB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181978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vid baggrund"/>
          <p:cNvSpPr/>
          <p:nvPr userDrawn="1"/>
        </p:nvSpPr>
        <p:spPr bwMode="auto">
          <a:xfrm>
            <a:off x="2" y="1"/>
            <a:ext cx="12192000" cy="5897563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95" tIns="45647" rIns="91295" bIns="45647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2937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597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15995" y="230400"/>
            <a:ext cx="11566212" cy="752400"/>
          </a:xfrm>
        </p:spPr>
        <p:txBody>
          <a:bodyPr anchor="t" anchorCtr="0"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10" name="Footer Placeholder 9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998849" y="1853462"/>
            <a:ext cx="6266328" cy="2725288"/>
          </a:xfrm>
        </p:spPr>
        <p:txBody>
          <a:bodyPr/>
          <a:lstStyle>
            <a:lvl1pPr marL="431308" indent="-431308" algn="ctr">
              <a:lnSpc>
                <a:spcPct val="107000"/>
              </a:lnSpc>
              <a:buSzPct val="250000"/>
              <a:buFontTx/>
              <a:buBlip>
                <a:blip r:embed="rId2"/>
              </a:buBlip>
              <a:defRPr sz="2796">
                <a:latin typeface="Georgia" panose="02040502050405020303" pitchFamily="18" charset="0"/>
              </a:defRPr>
            </a:lvl1pPr>
            <a:lvl2pPr marL="215655" indent="-215655" algn="ctr">
              <a:lnSpc>
                <a:spcPct val="99000"/>
              </a:lnSpc>
              <a:buFont typeface="Arial" panose="020B0604020202020204" pitchFamily="34" charset="0"/>
              <a:buChar char="-"/>
              <a:defRPr sz="1997" cap="all" baseline="0">
                <a:latin typeface="Georgia" panose="02040502050405020303" pitchFamily="18" charset="0"/>
              </a:defRPr>
            </a:lvl2pPr>
            <a:lvl3pPr marL="575078" indent="0">
              <a:buNone/>
              <a:defRPr/>
            </a:lvl3pPr>
          </a:lstStyle>
          <a:p>
            <a:pPr lvl="0"/>
            <a:r>
              <a:rPr lang="en-GB" dirty="0"/>
              <a:t>Click to add Quote text, for next level ENTER and TAB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153580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"/>
          <p:cNvSpPr>
            <a:spLocks noGrp="1"/>
          </p:cNvSpPr>
          <p:nvPr>
            <p:ph sz="quarter" idx="12"/>
          </p:nvPr>
        </p:nvSpPr>
        <p:spPr>
          <a:xfrm>
            <a:off x="328698" y="328613"/>
            <a:ext cx="11553659" cy="621347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456198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6" name="TextBox 5"/>
          <p:cNvSpPr txBox="1"/>
          <p:nvPr userDrawn="1"/>
        </p:nvSpPr>
        <p:spPr>
          <a:xfrm>
            <a:off x="-2160916" y="1022477"/>
            <a:ext cx="2013173" cy="4734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</a:pP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Ændr 2. linje i overskriften </a:t>
            </a:r>
            <a:b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GB" sz="998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til AU Passata Light</a:t>
            </a:r>
            <a:endParaRPr lang="en-GB" sz="4791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91856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  <p:sp>
        <p:nvSpPr>
          <p:cNvPr id="18" name="Pladsholder til indhold 2">
            <a:extLst>
              <a:ext uri="{FF2B5EF4-FFF2-40B4-BE49-F238E27FC236}">
                <a16:creationId xmlns:a16="http://schemas.microsoft.com/office/drawing/2014/main" id="{AE8B615A-4374-4B91-A191-D1DBD7C8C0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781924" y="2006069"/>
            <a:ext cx="4146723" cy="3831675"/>
          </a:xfrm>
        </p:spPr>
        <p:txBody>
          <a:bodyPr/>
          <a:lstStyle>
            <a:lvl1pPr marL="270000" indent="-270000">
              <a:defRPr baseline="0"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>
                <a:solidFill>
                  <a:srgbClr val="1F4A60"/>
                </a:solidFill>
              </a:defRPr>
            </a:lvl4pPr>
            <a:lvl5pPr marL="1656000" indent="-216000">
              <a:defRPr>
                <a:solidFill>
                  <a:srgbClr val="1F4A60"/>
                </a:solidFill>
              </a:defRPr>
            </a:lvl5pPr>
            <a:lvl6pPr marL="1998000" indent="-180000">
              <a:defRPr>
                <a:solidFill>
                  <a:srgbClr val="1F4A60"/>
                </a:solidFill>
              </a:defRPr>
            </a:lvl6pPr>
            <a:lvl7pPr marL="2358000" indent="-180000">
              <a:defRPr>
                <a:solidFill>
                  <a:srgbClr val="1F4A60"/>
                </a:solidFill>
              </a:defRPr>
            </a:lvl7pPr>
            <a:lvl8pPr marL="2718000" indent="-180000">
              <a:defRPr>
                <a:solidFill>
                  <a:srgbClr val="1F4A60"/>
                </a:solidFill>
              </a:defRPr>
            </a:lvl8pPr>
            <a:lvl9pPr marL="2538000" indent="0">
              <a:buNone/>
              <a:defRPr sz="1000">
                <a:solidFill>
                  <a:srgbClr val="1F4A60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</p:spTree>
    <p:extLst>
      <p:ext uri="{BB962C8B-B14F-4D97-AF65-F5344CB8AC3E}">
        <p14:creationId xmlns:p14="http://schemas.microsoft.com/office/powerpoint/2010/main" val="98666529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766019" y="1340769"/>
            <a:ext cx="1224455" cy="504056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95" tIns="45647" rIns="91295" bIns="45647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2937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597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8" name="Slide Number Placeholder 7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759753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arvet baggrund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91" dirty="0"/>
          </a:p>
        </p:txBody>
      </p:sp>
      <p:pic>
        <p:nvPicPr>
          <p:cNvPr id="4" name="Logo BS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879" y="2229267"/>
            <a:ext cx="2398246" cy="2399468"/>
          </a:xfrm>
          <a:prstGeom prst="rect">
            <a:avLst/>
          </a:prstGeom>
        </p:spPr>
      </p:pic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1"/>
            <a:ext cx="0" cy="769441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288901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arvet baggrund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91" dirty="0"/>
          </a:p>
        </p:txBody>
      </p:sp>
      <p:pic>
        <p:nvPicPr>
          <p:cNvPr id="7" name="Logo BS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9058" y="2520002"/>
            <a:ext cx="1650805" cy="1650375"/>
          </a:xfrm>
          <a:prstGeom prst="rect">
            <a:avLst/>
          </a:prstGeom>
        </p:spPr>
      </p:pic>
      <p:sp>
        <p:nvSpPr>
          <p:cNvPr id="6" name="OFF_logo2Computed"/>
          <p:cNvSpPr txBox="1">
            <a:spLocks noChangeArrowheads="1"/>
          </p:cNvSpPr>
          <p:nvPr userDrawn="1"/>
        </p:nvSpPr>
        <p:spPr bwMode="auto">
          <a:xfrm>
            <a:off x="4393144" y="2520002"/>
            <a:ext cx="7482862" cy="869657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492415" rIns="0" bIns="0">
            <a:spAutoFit/>
          </a:bodyPr>
          <a:lstStyle/>
          <a:p>
            <a:pPr>
              <a:lnSpc>
                <a:spcPct val="105000"/>
              </a:lnSpc>
              <a:defRPr/>
            </a:pPr>
            <a:endParaRPr lang="en-GB" sz="2297" b="0" cap="all" spc="200" baseline="0" dirty="0">
              <a:solidFill>
                <a:schemeClr val="bg1"/>
              </a:solidFill>
              <a:latin typeface="AU Passata" panose="020B0503030502030804" pitchFamily="34" charset="0"/>
            </a:endParaRPr>
          </a:p>
        </p:txBody>
      </p:sp>
      <p:sp>
        <p:nvSpPr>
          <p:cNvPr id="10" name="OFF_logo1Computed"/>
          <p:cNvSpPr txBox="1">
            <a:spLocks noChangeArrowheads="1"/>
          </p:cNvSpPr>
          <p:nvPr userDrawn="1"/>
        </p:nvSpPr>
        <p:spPr bwMode="auto">
          <a:xfrm>
            <a:off x="4871546" y="2545400"/>
            <a:ext cx="7482862" cy="161015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22205" rIns="0" bIns="0">
            <a:spAutoFit/>
          </a:bodyPr>
          <a:lstStyle/>
          <a:p>
            <a:pPr>
              <a:lnSpc>
                <a:spcPct val="105000"/>
              </a:lnSpc>
              <a:defRPr/>
            </a:pPr>
            <a:endParaRPr lang="en-GB" sz="2297" b="1" cap="all" spc="100" baseline="0" dirty="0">
              <a:solidFill>
                <a:schemeClr val="bg1"/>
              </a:solidFill>
              <a:latin typeface="AU Passata" panose="020B0503030502030804" pitchFamily="34" charset="0"/>
            </a:endParaRPr>
          </a:p>
          <a:p>
            <a:pPr>
              <a:lnSpc>
                <a:spcPct val="105000"/>
              </a:lnSpc>
              <a:defRPr/>
            </a:pPr>
            <a:endParaRPr lang="en-GB" sz="2297" b="1" cap="all" spc="100" baseline="0" dirty="0">
              <a:solidFill>
                <a:schemeClr val="bg1"/>
              </a:solidFill>
              <a:latin typeface="AU Passata" panose="020B0503030502030804" pitchFamily="34" charset="0"/>
            </a:endParaRPr>
          </a:p>
          <a:p>
            <a:pPr>
              <a:lnSpc>
                <a:spcPct val="105000"/>
              </a:lnSpc>
              <a:defRPr/>
            </a:pPr>
            <a:r>
              <a:rPr lang="en-GB" sz="2297" b="1" cap="all" spc="100" baseline="0" dirty="0">
                <a:solidFill>
                  <a:schemeClr val="bg1"/>
                </a:solidFill>
                <a:latin typeface="AU Passata" panose="020B0503030502030804" pitchFamily="34" charset="0"/>
              </a:rPr>
              <a:t>INSTITUT FOR STATSKUNDSKAB</a:t>
            </a:r>
          </a:p>
          <a:p>
            <a:pPr>
              <a:lnSpc>
                <a:spcPct val="105000"/>
              </a:lnSpc>
              <a:defRPr/>
            </a:pPr>
            <a:r>
              <a:rPr lang="en-GB" sz="2297" b="0" cap="all" spc="100" baseline="0" dirty="0">
                <a:solidFill>
                  <a:schemeClr val="bg1"/>
                </a:solidFill>
                <a:latin typeface="AU Passata" panose="020B0503030502030804" pitchFamily="34" charset="0"/>
              </a:rPr>
              <a:t>AARHUS UNIVERSITET</a:t>
            </a:r>
          </a:p>
        </p:txBody>
      </p:sp>
      <p:sp>
        <p:nvSpPr>
          <p:cNvPr id="9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11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1"/>
            <a:ext cx="0" cy="769441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659519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 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arvet baggrund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91" dirty="0"/>
          </a:p>
        </p:txBody>
      </p:sp>
      <p:sp>
        <p:nvSpPr>
          <p:cNvPr id="6" name="OFF_logo2Computed"/>
          <p:cNvSpPr txBox="1">
            <a:spLocks noChangeArrowheads="1"/>
          </p:cNvSpPr>
          <p:nvPr userDrawn="1"/>
        </p:nvSpPr>
        <p:spPr bwMode="auto">
          <a:xfrm>
            <a:off x="4393144" y="2520002"/>
            <a:ext cx="7482862" cy="869657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492415" rIns="0" bIns="0">
            <a:spAutoFit/>
          </a:bodyPr>
          <a:lstStyle/>
          <a:p>
            <a:pPr>
              <a:lnSpc>
                <a:spcPct val="105000"/>
              </a:lnSpc>
              <a:defRPr/>
            </a:pPr>
            <a:endParaRPr lang="en-GB" sz="2297" b="0" cap="all" spc="200" baseline="0" dirty="0">
              <a:solidFill>
                <a:schemeClr val="bg1"/>
              </a:solidFill>
              <a:latin typeface="AU Passata" panose="020B0503030502030804" pitchFamily="34" charset="0"/>
            </a:endParaRPr>
          </a:p>
        </p:txBody>
      </p:sp>
      <p:sp>
        <p:nvSpPr>
          <p:cNvPr id="9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11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1"/>
            <a:ext cx="0" cy="769441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3FF57DD2-E465-D142-901B-8F8B5CD4A9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962" y="1066366"/>
            <a:ext cx="9630246" cy="4420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97201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21" y="1486"/>
          <a:ext cx="1921" cy="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21" y="1486"/>
                        <a:ext cx="1921" cy="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66"/>
            <a:ext cx="12192001" cy="6875348"/>
          </a:xfrm>
          <a:prstGeom prst="rect">
            <a:avLst/>
          </a:prstGeom>
          <a:solidFill>
            <a:srgbClr val="E2E0E3"/>
          </a:solidFill>
        </p:spPr>
      </p:pic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87473" y="2156780"/>
            <a:ext cx="5931435" cy="1475199"/>
          </a:xfrm>
          <a:prstGeom prst="rect">
            <a:avLst/>
          </a:prstGeom>
        </p:spPr>
        <p:txBody>
          <a:bodyPr>
            <a:noAutofit/>
          </a:bodyPr>
          <a:lstStyle>
            <a:lvl1pPr indent="1752331" algn="l">
              <a:defRPr sz="3692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2867884" y="3802326"/>
            <a:ext cx="3551034" cy="83078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51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474140" y="2532758"/>
            <a:ext cx="2110675" cy="0"/>
          </a:xfrm>
          <a:prstGeom prst="line">
            <a:avLst/>
          </a:prstGeom>
          <a:ln w="25400">
            <a:solidFill>
              <a:srgbClr val="E5003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918176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llemside_Rø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21" y="1486"/>
          <a:ext cx="1921" cy="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21" y="1486"/>
                        <a:ext cx="1921" cy="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75081" y="2147831"/>
            <a:ext cx="7875963" cy="2244053"/>
          </a:xfrm>
          <a:prstGeom prst="rect">
            <a:avLst/>
          </a:prstGeom>
        </p:spPr>
        <p:txBody>
          <a:bodyPr>
            <a:noAutofit/>
          </a:bodyPr>
          <a:lstStyle>
            <a:lvl1pPr marL="0" indent="1752331">
              <a:spcBef>
                <a:spcPts val="355"/>
              </a:spcBef>
              <a:defRPr lang="en-US" sz="3692" b="1" kern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87479" y="4510497"/>
            <a:ext cx="7863511" cy="46609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79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474140" y="2532758"/>
            <a:ext cx="2110675" cy="0"/>
          </a:xfrm>
          <a:prstGeom prst="line">
            <a:avLst/>
          </a:prstGeom>
          <a:ln w="2540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068536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llemside_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21" y="1486"/>
          <a:ext cx="1921" cy="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21" y="1486"/>
                        <a:ext cx="1921" cy="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 flipH="1">
            <a:off x="474140" y="1650947"/>
            <a:ext cx="2110675" cy="0"/>
          </a:xfrm>
          <a:prstGeom prst="line">
            <a:avLst/>
          </a:prstGeom>
          <a:ln w="25400">
            <a:solidFill>
              <a:srgbClr val="E5003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87467" y="1308976"/>
            <a:ext cx="10491204" cy="4408454"/>
          </a:xfrm>
          <a:prstGeom prst="rect">
            <a:avLst/>
          </a:prstGeom>
        </p:spPr>
        <p:txBody>
          <a:bodyPr>
            <a:noAutofit/>
          </a:bodyPr>
          <a:lstStyle>
            <a:lvl1pPr indent="1812756">
              <a:defRPr sz="3692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87479" y="5899920"/>
            <a:ext cx="7863511" cy="38869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79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9" name="Slide Number Placeholder 2"/>
          <p:cNvSpPr txBox="1">
            <a:spLocks/>
          </p:cNvSpPr>
          <p:nvPr userDrawn="1"/>
        </p:nvSpPr>
        <p:spPr>
          <a:xfrm>
            <a:off x="479973" y="6424329"/>
            <a:ext cx="725865" cy="18219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r" defTabSz="519543" rtl="0" eaLnBrk="1" latinLnBrk="0" hangingPunct="1">
              <a:defRPr sz="8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59772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543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9315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9086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98857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58629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18401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78172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a-DK" sz="587" dirty="0">
                <a:solidFill>
                  <a:srgbClr val="A1938E">
                    <a:lumMod val="50000"/>
                  </a:srgbClr>
                </a:solidFill>
              </a:rPr>
              <a:t> Side </a:t>
            </a:r>
            <a:fld id="{8D1860DE-99E2-CA4F-B49F-9FA189F66E94}" type="slidenum">
              <a:rPr lang="da-DK" sz="587" smtClean="0">
                <a:solidFill>
                  <a:srgbClr val="A1938E">
                    <a:lumMod val="50000"/>
                  </a:srgbClr>
                </a:solidFill>
              </a:rPr>
              <a:pPr algn="l"/>
              <a:t>‹nr.›</a:t>
            </a:fld>
            <a:endParaRPr lang="da-DK" sz="587" dirty="0">
              <a:solidFill>
                <a:srgbClr val="A1938E">
                  <a:lumMod val="50000"/>
                </a:srgb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5035" y="6229686"/>
            <a:ext cx="1032556" cy="38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76054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82" y="1844"/>
          <a:ext cx="1780" cy="17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82" y="1844"/>
                        <a:ext cx="1780" cy="17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ktangel 11"/>
          <p:cNvSpPr/>
          <p:nvPr userDrawn="1"/>
        </p:nvSpPr>
        <p:spPr>
          <a:xfrm>
            <a:off x="6085274" y="64"/>
            <a:ext cx="6106740" cy="6855035"/>
          </a:xfrm>
          <a:prstGeom prst="rect">
            <a:avLst/>
          </a:prstGeom>
          <a:gradFill>
            <a:gsLst>
              <a:gs pos="13000">
                <a:srgbClr val="FFFFFF"/>
              </a:gs>
              <a:gs pos="66000">
                <a:srgbClr val="FFFFFF">
                  <a:lumMod val="85000"/>
                </a:srgbClr>
              </a:gs>
              <a:gs pos="33000">
                <a:srgbClr val="FFFFFF">
                  <a:lumMod val="85000"/>
                </a:srgbClr>
              </a:gs>
              <a:gs pos="87000">
                <a:srgbClr val="FFFFFF"/>
              </a:gs>
            </a:gsLst>
            <a:lin ang="54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a-DK" sz="755" kern="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4148" y="455656"/>
            <a:ext cx="11230396" cy="620688"/>
          </a:xfrm>
          <a:prstGeom prst="rect">
            <a:avLst/>
          </a:prstGeom>
        </p:spPr>
        <p:txBody>
          <a:bodyPr wrap="square" anchor="t">
            <a:normAutofit/>
          </a:bodyPr>
          <a:lstStyle>
            <a:lvl1pPr>
              <a:defRPr sz="2014" baseline="0"/>
            </a:lvl1pPr>
          </a:lstStyle>
          <a:p>
            <a:r>
              <a:rPr lang="da-DK" dirty="0"/>
              <a:t>Klik og tilføj en aktiv overskrift, som gerne må fylde op til to linjer med tekst</a:t>
            </a: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>
          <a:xfrm>
            <a:off x="477003" y="6424329"/>
            <a:ext cx="739193" cy="18219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r" defTabSz="519543" rtl="0" eaLnBrk="1" latinLnBrk="0" hangingPunct="1">
              <a:defRPr sz="8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59772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543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9315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9086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98857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58629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18401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78172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a-DK" sz="587" dirty="0">
                <a:solidFill>
                  <a:srgbClr val="A1938E">
                    <a:lumMod val="50000"/>
                  </a:srgbClr>
                </a:solidFill>
              </a:rPr>
              <a:t> Side </a:t>
            </a:r>
            <a:fld id="{8D1860DE-99E2-CA4F-B49F-9FA189F66E94}" type="slidenum">
              <a:rPr lang="da-DK" sz="587" smtClean="0">
                <a:solidFill>
                  <a:srgbClr val="A1938E">
                    <a:lumMod val="50000"/>
                  </a:srgbClr>
                </a:solidFill>
              </a:rPr>
              <a:pPr algn="l"/>
              <a:t>‹nr.›</a:t>
            </a:fld>
            <a:endParaRPr lang="da-DK" sz="587" dirty="0">
              <a:solidFill>
                <a:srgbClr val="A1938E">
                  <a:lumMod val="50000"/>
                </a:srgbClr>
              </a:solidFill>
            </a:endParaRPr>
          </a:p>
        </p:txBody>
      </p:sp>
      <p:sp>
        <p:nvSpPr>
          <p:cNvPr id="18" name="Pladsholder til indhold 17"/>
          <p:cNvSpPr>
            <a:spLocks noGrp="1"/>
          </p:cNvSpPr>
          <p:nvPr>
            <p:ph sz="quarter" idx="12" hasCustomPrompt="1"/>
          </p:nvPr>
        </p:nvSpPr>
        <p:spPr>
          <a:xfrm>
            <a:off x="474148" y="220131"/>
            <a:ext cx="11230396" cy="148323"/>
          </a:xfrm>
        </p:spPr>
        <p:txBody>
          <a:bodyPr/>
          <a:lstStyle>
            <a:lvl1pPr>
              <a:defRPr sz="923" baseline="0"/>
            </a:lvl1pPr>
          </a:lstStyle>
          <a:p>
            <a:pPr lvl="0"/>
            <a:r>
              <a:rPr lang="da-DK" dirty="0"/>
              <a:t>KLIK OG TILFØJ EVT. EN DELOVERSKRIFT/AFSNITSANGIVELSE I ÉN LINJES TEKST (ALTID I BLOKBOGSTAVER)</a:t>
            </a: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5035" y="6229653"/>
            <a:ext cx="1032556" cy="38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48946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ide_Grå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21" y="1486"/>
          <a:ext cx="1921" cy="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21" y="1486"/>
                        <a:ext cx="1921" cy="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148" y="489090"/>
            <a:ext cx="11230396" cy="807069"/>
          </a:xfrm>
          <a:prstGeom prst="rect">
            <a:avLst/>
          </a:prstGeo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87468" y="1384830"/>
            <a:ext cx="11217067" cy="478826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79"/>
            </a:lvl1pPr>
            <a:lvl2pPr>
              <a:lnSpc>
                <a:spcPct val="100000"/>
              </a:lnSpc>
              <a:defRPr sz="1510"/>
            </a:lvl2pPr>
            <a:lvl3pPr>
              <a:defRPr sz="1510"/>
            </a:lvl3pPr>
            <a:lvl4pPr>
              <a:defRPr sz="1510"/>
            </a:lvl4pPr>
            <a:lvl5pPr>
              <a:defRPr sz="1510"/>
            </a:lvl5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>
          <a:xfrm>
            <a:off x="477003" y="6424329"/>
            <a:ext cx="739193" cy="18219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r" defTabSz="519543" rtl="0" eaLnBrk="1" latinLnBrk="0" hangingPunct="1">
              <a:defRPr sz="8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59772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543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9315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9086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98857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58629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18401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78172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a-DK" sz="587" dirty="0">
                <a:solidFill>
                  <a:srgbClr val="A1938E">
                    <a:lumMod val="50000"/>
                  </a:srgbClr>
                </a:solidFill>
              </a:rPr>
              <a:t> Side </a:t>
            </a:r>
            <a:fld id="{8D1860DE-99E2-CA4F-B49F-9FA189F66E94}" type="slidenum">
              <a:rPr lang="da-DK" sz="587" smtClean="0">
                <a:solidFill>
                  <a:srgbClr val="A1938E">
                    <a:lumMod val="50000"/>
                  </a:srgbClr>
                </a:solidFill>
              </a:rPr>
              <a:pPr algn="l"/>
              <a:t>‹nr.›</a:t>
            </a:fld>
            <a:endParaRPr lang="da-DK" sz="587" dirty="0">
              <a:solidFill>
                <a:srgbClr val="A1938E">
                  <a:lumMod val="50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5035" y="6229686"/>
            <a:ext cx="1032556" cy="38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66210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ide_D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21" y="1486"/>
          <a:ext cx="1921" cy="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21" y="1486"/>
                        <a:ext cx="1921" cy="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6095111" y="66"/>
            <a:ext cx="609689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36021"/>
            <a:endParaRPr lang="da-DK" sz="1007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6417125" y="1752531"/>
            <a:ext cx="5299862" cy="4420624"/>
          </a:xfrm>
          <a:prstGeom prst="rect">
            <a:avLst/>
          </a:prstGeom>
        </p:spPr>
        <p:txBody>
          <a:bodyPr/>
          <a:lstStyle>
            <a:lvl1pPr>
              <a:defRPr sz="1679"/>
            </a:lvl1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138" y="489026"/>
            <a:ext cx="5298960" cy="649530"/>
          </a:xfrm>
          <a:prstGeom prst="rect">
            <a:avLst/>
          </a:prstGeom>
        </p:spPr>
        <p:txBody>
          <a:bodyPr/>
          <a:lstStyle>
            <a:lvl1pPr>
              <a:defRPr sz="2014"/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87470" y="1752468"/>
            <a:ext cx="5285630" cy="4420623"/>
          </a:xfrm>
          <a:prstGeom prst="rect">
            <a:avLst/>
          </a:prstGeom>
        </p:spPr>
        <p:txBody>
          <a:bodyPr/>
          <a:lstStyle>
            <a:lvl1pPr>
              <a:defRPr sz="1679">
                <a:solidFill>
                  <a:schemeClr val="tx1"/>
                </a:solidFill>
              </a:defRPr>
            </a:lvl1pPr>
            <a:lvl2pPr>
              <a:defRPr sz="1510">
                <a:solidFill>
                  <a:schemeClr val="tx1"/>
                </a:solidFill>
              </a:defRPr>
            </a:lvl2pPr>
            <a:lvl3pPr>
              <a:defRPr sz="2014">
                <a:solidFill>
                  <a:schemeClr val="tx1"/>
                </a:solidFill>
              </a:defRPr>
            </a:lvl3pPr>
            <a:lvl4pPr>
              <a:defRPr sz="2014">
                <a:solidFill>
                  <a:schemeClr val="tx1"/>
                </a:solidFill>
              </a:defRPr>
            </a:lvl4pPr>
            <a:lvl5pPr>
              <a:defRPr sz="2014"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</p:txBody>
      </p:sp>
      <p:sp>
        <p:nvSpPr>
          <p:cNvPr id="10" name="Slide Number Placeholder 2"/>
          <p:cNvSpPr txBox="1">
            <a:spLocks/>
          </p:cNvSpPr>
          <p:nvPr userDrawn="1"/>
        </p:nvSpPr>
        <p:spPr>
          <a:xfrm>
            <a:off x="480041" y="6424329"/>
            <a:ext cx="725864" cy="18219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r" defTabSz="519543" rtl="0" eaLnBrk="1" latinLnBrk="0" hangingPunct="1">
              <a:defRPr sz="8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59772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9543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9315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9086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98857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58629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18401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78172" algn="l" defTabSz="519543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a-DK" sz="587" dirty="0">
                <a:solidFill>
                  <a:srgbClr val="A1938E">
                    <a:lumMod val="50000"/>
                  </a:srgbClr>
                </a:solidFill>
              </a:rPr>
              <a:t> Side </a:t>
            </a:r>
            <a:fld id="{8D1860DE-99E2-CA4F-B49F-9FA189F66E94}" type="slidenum">
              <a:rPr lang="da-DK" sz="587" smtClean="0">
                <a:solidFill>
                  <a:srgbClr val="A1938E">
                    <a:lumMod val="50000"/>
                  </a:srgbClr>
                </a:solidFill>
              </a:rPr>
              <a:pPr algn="l"/>
              <a:t>‹nr.›</a:t>
            </a:fld>
            <a:endParaRPr lang="da-DK" sz="587" dirty="0">
              <a:solidFill>
                <a:srgbClr val="A1938E">
                  <a:lumMod val="50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5035" y="6229686"/>
            <a:ext cx="1032556" cy="38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7682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  <p:sp>
        <p:nvSpPr>
          <p:cNvPr id="18" name="Pladsholder til indhold 2">
            <a:extLst>
              <a:ext uri="{FF2B5EF4-FFF2-40B4-BE49-F238E27FC236}">
                <a16:creationId xmlns:a16="http://schemas.microsoft.com/office/drawing/2014/main" id="{AE8B615A-4374-4B91-A191-D1DBD7C8C0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781924" y="2006069"/>
            <a:ext cx="4146723" cy="3831675"/>
          </a:xfrm>
        </p:spPr>
        <p:txBody>
          <a:bodyPr/>
          <a:lstStyle>
            <a:lvl1pPr marL="270000" indent="-270000">
              <a:defRPr baseline="0">
                <a:solidFill>
                  <a:srgbClr val="1F4A60"/>
                </a:solidFill>
              </a:defRPr>
            </a:lvl1pPr>
            <a:lvl2pPr marL="630000" indent="-270000">
              <a:defRPr>
                <a:solidFill>
                  <a:srgbClr val="1F4A60"/>
                </a:solidFill>
              </a:defRPr>
            </a:lvl2pPr>
            <a:lvl3pPr marL="936000" indent="-234000">
              <a:defRPr>
                <a:solidFill>
                  <a:srgbClr val="1F4A60"/>
                </a:solidFill>
              </a:defRPr>
            </a:lvl3pPr>
            <a:lvl4pPr marL="1296000" indent="-216000">
              <a:defRPr>
                <a:solidFill>
                  <a:srgbClr val="1F4A60"/>
                </a:solidFill>
              </a:defRPr>
            </a:lvl4pPr>
            <a:lvl5pPr marL="1656000" indent="-216000">
              <a:defRPr>
                <a:solidFill>
                  <a:srgbClr val="1F4A60"/>
                </a:solidFill>
              </a:defRPr>
            </a:lvl5pPr>
            <a:lvl6pPr marL="1998000" indent="-180000">
              <a:defRPr>
                <a:solidFill>
                  <a:srgbClr val="1F4A60"/>
                </a:solidFill>
              </a:defRPr>
            </a:lvl6pPr>
            <a:lvl7pPr marL="2358000" indent="-180000">
              <a:defRPr>
                <a:solidFill>
                  <a:srgbClr val="1F4A60"/>
                </a:solidFill>
              </a:defRPr>
            </a:lvl7pPr>
            <a:lvl8pPr marL="2718000" indent="-180000">
              <a:defRPr>
                <a:solidFill>
                  <a:srgbClr val="1F4A60"/>
                </a:solidFill>
              </a:defRPr>
            </a:lvl8pPr>
            <a:lvl9pPr marL="2538000" indent="0">
              <a:buNone/>
              <a:defRPr sz="1000">
                <a:solidFill>
                  <a:srgbClr val="1F4A60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</p:spTree>
    <p:extLst>
      <p:ext uri="{BB962C8B-B14F-4D97-AF65-F5344CB8AC3E}">
        <p14:creationId xmlns:p14="http://schemas.microsoft.com/office/powerpoint/2010/main" val="3151496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21" y="1486"/>
          <a:ext cx="1921" cy="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21" y="1486"/>
                        <a:ext cx="1921" cy="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0225" y="273967"/>
            <a:ext cx="10971553" cy="1143890"/>
          </a:xfrm>
          <a:prstGeom prst="rect">
            <a:avLst/>
          </a:prstGeo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dias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a-DK" dirty="0">
                <a:solidFill>
                  <a:srgbClr val="A1938E">
                    <a:lumMod val="50000"/>
                  </a:srgbClr>
                </a:solidFill>
              </a:rPr>
              <a:t> Side </a:t>
            </a:r>
            <a:fld id="{8D1860DE-99E2-CA4F-B49F-9FA189F66E94}" type="slidenum">
              <a:rPr lang="da-DK" smtClean="0">
                <a:solidFill>
                  <a:srgbClr val="A1938E">
                    <a:lumMod val="50000"/>
                  </a:srgbClr>
                </a:solidFill>
              </a:rPr>
              <a:pPr/>
              <a:t>‹nr.›</a:t>
            </a:fld>
            <a:endParaRPr lang="da-DK" dirty="0">
              <a:solidFill>
                <a:srgbClr val="A1938E">
                  <a:lumMod val="50000"/>
                </a:srgbClr>
              </a:solidFill>
            </a:endParaRPr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7294" y="6202726"/>
            <a:ext cx="1390289" cy="522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38035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Farvet baggrund"/>
          <p:cNvPicPr preferRelativeResize="0"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2192000" cy="685800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34819" name="Title 1"/>
          <p:cNvSpPr>
            <a:spLocks noGrp="1" noChangeArrowheads="1"/>
          </p:cNvSpPr>
          <p:nvPr>
            <p:ph type="ctrTitle"/>
          </p:nvPr>
        </p:nvSpPr>
        <p:spPr>
          <a:xfrm>
            <a:off x="986096" y="2690927"/>
            <a:ext cx="10222986" cy="1244828"/>
          </a:xfrm>
        </p:spPr>
        <p:txBody>
          <a:bodyPr wrap="square" anchor="ctr" anchorCtr="0">
            <a:spAutoFit/>
          </a:bodyPr>
          <a:lstStyle>
            <a:lvl1pPr>
              <a:lnSpc>
                <a:spcPct val="90000"/>
              </a:lnSpc>
              <a:defRPr sz="4494" baseline="0">
                <a:solidFill>
                  <a:schemeClr val="bg1"/>
                </a:solidFill>
                <a:latin typeface="AU Passata Light" panose="020B03030309020308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-1974112" y="3082511"/>
            <a:ext cx="1826368" cy="23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750" baseline="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Ændr 2. linje eller ord til</a:t>
            </a:r>
            <a:endParaRPr lang="en-GB" sz="1349" dirty="0"/>
          </a:p>
          <a:p>
            <a:pPr algn="r">
              <a:lnSpc>
                <a:spcPct val="100000"/>
              </a:lnSpc>
            </a:pPr>
            <a:r>
              <a:rPr lang="en-GB" sz="75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AU Passata Bold</a:t>
            </a:r>
            <a:endParaRPr lang="en-GB" sz="3593" dirty="0"/>
          </a:p>
        </p:txBody>
      </p:sp>
      <p:pic>
        <p:nvPicPr>
          <p:cNvPr id="14" name="Logo BS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82" y="5997604"/>
            <a:ext cx="600892" cy="541521"/>
          </a:xfrm>
          <a:prstGeom prst="rect">
            <a:avLst/>
          </a:prstGeom>
        </p:spPr>
      </p:pic>
      <p:sp>
        <p:nvSpPr>
          <p:cNvPr id="16" name="OFF_logo2Computed"/>
          <p:cNvSpPr txBox="1">
            <a:spLocks noChangeArrowheads="1"/>
          </p:cNvSpPr>
          <p:nvPr userDrawn="1"/>
        </p:nvSpPr>
        <p:spPr bwMode="auto">
          <a:xfrm>
            <a:off x="972271" y="5997603"/>
            <a:ext cx="2350657" cy="335633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26699" rIns="0" bIns="0">
            <a:spAutoFit/>
          </a:bodyPr>
          <a:lstStyle/>
          <a:p>
            <a:pPr>
              <a:lnSpc>
                <a:spcPct val="100000"/>
              </a:lnSpc>
              <a:defRPr/>
            </a:pPr>
            <a:endParaRPr lang="en-GB" sz="673" cap="all" spc="31" baseline="0" dirty="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00000"/>
              </a:lnSpc>
              <a:defRPr/>
            </a:pPr>
            <a:endParaRPr lang="en-GB" sz="673" cap="all" spc="31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5" name="OFF_logo1Computed">
            <a:extLst>
              <a:ext uri="{FF2B5EF4-FFF2-40B4-BE49-F238E27FC236}">
                <a16:creationId xmlns:a16="http://schemas.microsoft.com/office/drawing/2014/main" id="{76394C7A-7F05-BF47-B9F2-31A5C83539FE}"/>
              </a:ext>
            </a:extLst>
          </p:cNvPr>
          <p:cNvSpPr/>
          <p:nvPr userDrawn="1"/>
        </p:nvSpPr>
        <p:spPr bwMode="auto">
          <a:xfrm>
            <a:off x="972262" y="6007008"/>
            <a:ext cx="1399787" cy="442248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6957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6846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673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6846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673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6846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673" b="1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INSTITUT FOR STATSKUNDSKAB</a:t>
            </a:r>
          </a:p>
          <a:p>
            <a:pPr marL="0" marR="0" indent="0" algn="l" defTabSz="6846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673" b="0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AARHUS UNIVERSITET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3F20AD3C-DDCD-3743-AC79-5A832C88AA4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7432" y="-6149641"/>
            <a:ext cx="10629139" cy="10986809"/>
          </a:xfrm>
          <a:prstGeom prst="rect">
            <a:avLst/>
          </a:prstGeom>
        </p:spPr>
      </p:pic>
      <p:pic>
        <p:nvPicPr>
          <p:cNvPr id="20" name="Billede 19">
            <a:extLst>
              <a:ext uri="{FF2B5EF4-FFF2-40B4-BE49-F238E27FC236}">
                <a16:creationId xmlns:a16="http://schemas.microsoft.com/office/drawing/2014/main" id="{F39DCE25-406B-F849-971B-3B95A143E51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0151" y="5557206"/>
            <a:ext cx="4951779" cy="2043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3598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arvet baggrund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93" dirty="0"/>
          </a:p>
        </p:txBody>
      </p:sp>
      <p:sp>
        <p:nvSpPr>
          <p:cNvPr id="19" name="White Top Rectangle"/>
          <p:cNvSpPr>
            <a:spLocks noChangeArrowheads="1"/>
          </p:cNvSpPr>
          <p:nvPr userDrawn="1"/>
        </p:nvSpPr>
        <p:spPr bwMode="auto">
          <a:xfrm>
            <a:off x="986111" y="3443623"/>
            <a:ext cx="648170" cy="46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3593" dirty="0"/>
          </a:p>
        </p:txBody>
      </p:sp>
      <p:sp>
        <p:nvSpPr>
          <p:cNvPr id="34819" name="Title 1"/>
          <p:cNvSpPr>
            <a:spLocks noGrp="1" noChangeArrowheads="1"/>
          </p:cNvSpPr>
          <p:nvPr>
            <p:ph type="ctrTitle"/>
          </p:nvPr>
        </p:nvSpPr>
        <p:spPr>
          <a:xfrm>
            <a:off x="982116" y="1520324"/>
            <a:ext cx="9545793" cy="1779553"/>
          </a:xfrm>
        </p:spPr>
        <p:txBody>
          <a:bodyPr wrap="square" anchor="b" anchorCtr="0">
            <a:noAutofit/>
          </a:bodyPr>
          <a:lstStyle>
            <a:lvl1pPr>
              <a:lnSpc>
                <a:spcPct val="90000"/>
              </a:lnSpc>
              <a:defRPr sz="4494" baseline="0">
                <a:solidFill>
                  <a:schemeClr val="bg1"/>
                </a:solidFill>
                <a:latin typeface="AU Passata Light" panose="020B03030309020308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86096" y="3715441"/>
            <a:ext cx="7163077" cy="1746085"/>
          </a:xfrm>
        </p:spPr>
        <p:txBody>
          <a:bodyPr/>
          <a:lstStyle>
            <a:lvl1pPr marL="0" indent="0">
              <a:lnSpc>
                <a:spcPct val="101000"/>
              </a:lnSpc>
              <a:buFontTx/>
              <a:buNone/>
              <a:defRPr sz="2022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2160917" y="2132857"/>
            <a:ext cx="2013173" cy="738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</a:pPr>
            <a:r>
              <a:rPr lang="en-GB" sz="75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Ændr 2. linje i overskriften </a:t>
            </a:r>
            <a:br>
              <a:rPr lang="en-GB" sz="750" noProof="1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GB" sz="75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til AU Passata bold</a:t>
            </a:r>
            <a:endParaRPr lang="en-GB" sz="3593" dirty="0"/>
          </a:p>
        </p:txBody>
      </p:sp>
      <p:pic>
        <p:nvPicPr>
          <p:cNvPr id="18" name="Logo BS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82" y="5997604"/>
            <a:ext cx="600892" cy="541521"/>
          </a:xfrm>
          <a:prstGeom prst="rect">
            <a:avLst/>
          </a:prstGeom>
        </p:spPr>
      </p:pic>
      <p:sp>
        <p:nvSpPr>
          <p:cNvPr id="17" name="OFF_logo2Computed"/>
          <p:cNvSpPr txBox="1">
            <a:spLocks noChangeArrowheads="1"/>
          </p:cNvSpPr>
          <p:nvPr userDrawn="1"/>
        </p:nvSpPr>
        <p:spPr bwMode="auto">
          <a:xfrm>
            <a:off x="972271" y="5997603"/>
            <a:ext cx="2350657" cy="335633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26699" rIns="0" bIns="0">
            <a:spAutoFit/>
          </a:bodyPr>
          <a:lstStyle/>
          <a:p>
            <a:pPr>
              <a:lnSpc>
                <a:spcPct val="100000"/>
              </a:lnSpc>
              <a:defRPr/>
            </a:pPr>
            <a:endParaRPr lang="en-GB" sz="673" cap="all" spc="31" baseline="0" dirty="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00000"/>
              </a:lnSpc>
              <a:defRPr/>
            </a:pPr>
            <a:endParaRPr lang="en-GB" sz="673" cap="all" spc="31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4" name="OFF_logo1Computed">
            <a:extLst>
              <a:ext uri="{FF2B5EF4-FFF2-40B4-BE49-F238E27FC236}">
                <a16:creationId xmlns:a16="http://schemas.microsoft.com/office/drawing/2014/main" id="{D90FCB66-191C-9349-8604-080297494FC7}"/>
              </a:ext>
            </a:extLst>
          </p:cNvPr>
          <p:cNvSpPr/>
          <p:nvPr userDrawn="1"/>
        </p:nvSpPr>
        <p:spPr bwMode="auto">
          <a:xfrm>
            <a:off x="972262" y="6007008"/>
            <a:ext cx="1399787" cy="442248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6957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6846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673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6846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673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6846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673" b="1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INSTITUT FOR STATSKUNDSKAB</a:t>
            </a:r>
          </a:p>
          <a:p>
            <a:pPr marL="0" marR="0" indent="0" algn="l" defTabSz="6846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673" b="0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AARHUS UNIVERSITET</a:t>
            </a:r>
          </a:p>
        </p:txBody>
      </p:sp>
      <p:pic>
        <p:nvPicPr>
          <p:cNvPr id="24" name="Billede 23">
            <a:extLst>
              <a:ext uri="{FF2B5EF4-FFF2-40B4-BE49-F238E27FC236}">
                <a16:creationId xmlns:a16="http://schemas.microsoft.com/office/drawing/2014/main" id="{F807BD2F-53D4-0B48-9E07-8F17CB30AE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510" y="5557206"/>
            <a:ext cx="3817419" cy="1575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26778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arvet baggrund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93" dirty="0"/>
          </a:p>
        </p:txBody>
      </p:sp>
      <p:sp>
        <p:nvSpPr>
          <p:cNvPr id="34819" name="Title 1"/>
          <p:cNvSpPr>
            <a:spLocks noGrp="1" noChangeArrowheads="1"/>
          </p:cNvSpPr>
          <p:nvPr>
            <p:ph type="ctrTitle"/>
          </p:nvPr>
        </p:nvSpPr>
        <p:spPr>
          <a:xfrm>
            <a:off x="986096" y="2690927"/>
            <a:ext cx="10222986" cy="1244828"/>
          </a:xfrm>
        </p:spPr>
        <p:txBody>
          <a:bodyPr wrap="square" anchor="ctr" anchorCtr="0">
            <a:spAutoFit/>
          </a:bodyPr>
          <a:lstStyle>
            <a:lvl1pPr>
              <a:lnSpc>
                <a:spcPct val="90000"/>
              </a:lnSpc>
              <a:defRPr sz="4494" baseline="0">
                <a:solidFill>
                  <a:schemeClr val="bg1"/>
                </a:solidFill>
                <a:latin typeface="AU Passata Light" panose="020B03030309020308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1974112" y="3082511"/>
            <a:ext cx="1826368" cy="23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750" baseline="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Ændr 2. linje eller ord til</a:t>
            </a:r>
            <a:endParaRPr lang="en-GB" sz="1349" dirty="0"/>
          </a:p>
          <a:p>
            <a:pPr algn="r">
              <a:lnSpc>
                <a:spcPct val="100000"/>
              </a:lnSpc>
            </a:pPr>
            <a:r>
              <a:rPr lang="en-GB" sz="75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AU Passata Bold</a:t>
            </a:r>
            <a:endParaRPr lang="en-GB" sz="3593" dirty="0"/>
          </a:p>
        </p:txBody>
      </p:sp>
      <p:pic>
        <p:nvPicPr>
          <p:cNvPr id="23" name="Billed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4787" y="5997604"/>
            <a:ext cx="71754" cy="502613"/>
          </a:xfrm>
          <a:prstGeom prst="rect">
            <a:avLst/>
          </a:prstGeom>
        </p:spPr>
      </p:pic>
      <p:pic>
        <p:nvPicPr>
          <p:cNvPr id="16" name="Logo BS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82" y="5997604"/>
            <a:ext cx="600892" cy="541521"/>
          </a:xfrm>
          <a:prstGeom prst="rect">
            <a:avLst/>
          </a:prstGeom>
        </p:spPr>
      </p:pic>
      <p:sp>
        <p:nvSpPr>
          <p:cNvPr id="17" name="OFF_logo2Computed"/>
          <p:cNvSpPr txBox="1">
            <a:spLocks noChangeArrowheads="1"/>
          </p:cNvSpPr>
          <p:nvPr userDrawn="1"/>
        </p:nvSpPr>
        <p:spPr bwMode="auto">
          <a:xfrm>
            <a:off x="972271" y="5997603"/>
            <a:ext cx="2350657" cy="335633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26699" rIns="0" bIns="0">
            <a:spAutoFit/>
          </a:bodyPr>
          <a:lstStyle/>
          <a:p>
            <a:pPr>
              <a:lnSpc>
                <a:spcPct val="100000"/>
              </a:lnSpc>
              <a:defRPr/>
            </a:pPr>
            <a:endParaRPr lang="en-GB" sz="673" cap="all" spc="31" baseline="0" dirty="0">
              <a:solidFill>
                <a:schemeClr val="bg1"/>
              </a:solidFill>
              <a:latin typeface="+mn-lt"/>
            </a:endParaRPr>
          </a:p>
          <a:p>
            <a:pPr>
              <a:lnSpc>
                <a:spcPct val="100000"/>
              </a:lnSpc>
              <a:defRPr/>
            </a:pPr>
            <a:endParaRPr lang="en-GB" sz="673" cap="all" spc="31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9" name="Date_DateCustomA">
            <a:extLst>
              <a:ext uri="{FF2B5EF4-FFF2-40B4-BE49-F238E27FC236}">
                <a16:creationId xmlns:a16="http://schemas.microsoft.com/office/drawing/2014/main" id="{39E94D8C-5906-5243-B2B8-14863ACA416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92294" y="5997606"/>
            <a:ext cx="2272432" cy="451598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355833" rIns="0" bIns="0" anchor="t" anchorCtr="0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GB" sz="523" b="0" cap="all" baseline="0" dirty="0">
                <a:solidFill>
                  <a:schemeClr val="bg1"/>
                </a:solidFill>
                <a:latin typeface="+mn-lt"/>
              </a:rPr>
              <a:t>DATE</a:t>
            </a:r>
          </a:p>
        </p:txBody>
      </p:sp>
      <p:sp>
        <p:nvSpPr>
          <p:cNvPr id="20" name="USR_Title">
            <a:extLst>
              <a:ext uri="{FF2B5EF4-FFF2-40B4-BE49-F238E27FC236}">
                <a16:creationId xmlns:a16="http://schemas.microsoft.com/office/drawing/2014/main" id="{C89BF9DB-1346-114F-9332-18E99C5D2C0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241684" y="5997606"/>
            <a:ext cx="2983193" cy="451598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lIns="0" tIns="355833" rIns="0" bIns="0" anchor="t" anchorCtr="0">
            <a:spAutoFit/>
          </a:bodyPr>
          <a:lstStyle/>
          <a:p>
            <a:pPr algn="l">
              <a:lnSpc>
                <a:spcPct val="95000"/>
              </a:lnSpc>
              <a:defRPr/>
            </a:pPr>
            <a:r>
              <a:rPr lang="en-GB" sz="523" b="0" cap="all" baseline="0" dirty="0">
                <a:solidFill>
                  <a:schemeClr val="bg1"/>
                </a:solidFill>
                <a:latin typeface="+mn-lt"/>
              </a:rPr>
              <a:t>TITLE</a:t>
            </a:r>
          </a:p>
        </p:txBody>
      </p:sp>
      <p:sp>
        <p:nvSpPr>
          <p:cNvPr id="21" name="FLD_Event">
            <a:extLst>
              <a:ext uri="{FF2B5EF4-FFF2-40B4-BE49-F238E27FC236}">
                <a16:creationId xmlns:a16="http://schemas.microsoft.com/office/drawing/2014/main" id="{9D885253-00F6-4B48-A022-D4BA3A36F2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92294" y="5997602"/>
            <a:ext cx="2272432" cy="335578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256093" rIns="0" bIns="0" anchor="t" anchorCtr="0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GB" sz="523" b="0" kern="1200" cap="all" baseline="0" dirty="0">
                <a:solidFill>
                  <a:schemeClr val="bg1"/>
                </a:solidFill>
                <a:latin typeface="AU Passata" pitchFamily="34" charset="0"/>
                <a:ea typeface="+mn-ea"/>
                <a:cs typeface="+mn-cs"/>
              </a:rPr>
              <a:t>EVENT</a:t>
            </a:r>
          </a:p>
        </p:txBody>
      </p:sp>
      <p:sp>
        <p:nvSpPr>
          <p:cNvPr id="24" name="USR_Name">
            <a:extLst>
              <a:ext uri="{FF2B5EF4-FFF2-40B4-BE49-F238E27FC236}">
                <a16:creationId xmlns:a16="http://schemas.microsoft.com/office/drawing/2014/main" id="{906037FE-CD0B-D246-ADAE-BD593819FD9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241684" y="5997602"/>
            <a:ext cx="2983193" cy="335578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lIns="0" tIns="256093" rIns="0" bIns="0" anchor="t" anchorCtr="0">
            <a:spAutoFit/>
          </a:bodyPr>
          <a:lstStyle/>
          <a:p>
            <a:pPr algn="l">
              <a:lnSpc>
                <a:spcPct val="95000"/>
              </a:lnSpc>
              <a:defRPr/>
            </a:pPr>
            <a:r>
              <a:rPr lang="en-GB" sz="523" b="0" cap="all" baseline="0" dirty="0">
                <a:solidFill>
                  <a:schemeClr val="bg1"/>
                </a:solidFill>
                <a:latin typeface="+mn-lt"/>
              </a:rPr>
              <a:t>NAME</a:t>
            </a:r>
          </a:p>
        </p:txBody>
      </p:sp>
      <p:sp>
        <p:nvSpPr>
          <p:cNvPr id="30" name="OFF_logo1Computed">
            <a:extLst>
              <a:ext uri="{FF2B5EF4-FFF2-40B4-BE49-F238E27FC236}">
                <a16:creationId xmlns:a16="http://schemas.microsoft.com/office/drawing/2014/main" id="{8A93CCFD-650B-1341-8C31-3270BB6359CF}"/>
              </a:ext>
            </a:extLst>
          </p:cNvPr>
          <p:cNvSpPr/>
          <p:nvPr userDrawn="1"/>
        </p:nvSpPr>
        <p:spPr bwMode="auto">
          <a:xfrm>
            <a:off x="972254" y="6007008"/>
            <a:ext cx="1635489" cy="442248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6957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6846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673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6846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673" b="1" i="0" u="none" strike="noStrike" cap="all" normalizeH="0" baseline="0" noProof="1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  <a:p>
            <a:pPr marL="0" marR="0" indent="0" algn="l" defTabSz="6846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673" b="1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DEPARTMENT OF POLITICAL SCIENCE</a:t>
            </a:r>
          </a:p>
          <a:p>
            <a:pPr marL="0" marR="0" indent="0" algn="l" defTabSz="6846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673" b="0" i="0" u="none" strike="noStrike" cap="all" normalizeH="0" baseline="0" noProof="1">
                <a:ln>
                  <a:noFill/>
                </a:ln>
                <a:solidFill>
                  <a:schemeClr val="bg1"/>
                </a:solidFill>
                <a:effectLst/>
                <a:latin typeface="AU Passata" pitchFamily="34" charset="0"/>
              </a:rPr>
              <a:t>AARHUS UNIVERSITY</a:t>
            </a:r>
          </a:p>
        </p:txBody>
      </p:sp>
      <p:pic>
        <p:nvPicPr>
          <p:cNvPr id="25" name="Billede 24">
            <a:extLst>
              <a:ext uri="{FF2B5EF4-FFF2-40B4-BE49-F238E27FC236}">
                <a16:creationId xmlns:a16="http://schemas.microsoft.com/office/drawing/2014/main" id="{2089D777-7D3E-D24B-874B-DE85152B78C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510" y="5557206"/>
            <a:ext cx="3817419" cy="1575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37073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6096" y="1960087"/>
            <a:ext cx="10222986" cy="3937485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-1974112" y="340172"/>
            <a:ext cx="1826368" cy="3468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75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Overskrift to</a:t>
            </a:r>
            <a:r>
              <a:rPr lang="en-GB" sz="750" baseline="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 linjer </a:t>
            </a:r>
            <a:endParaRPr lang="en-GB" sz="1349" dirty="0"/>
          </a:p>
          <a:p>
            <a:pPr algn="r">
              <a:lnSpc>
                <a:spcPct val="100000"/>
              </a:lnSpc>
            </a:pPr>
            <a:r>
              <a:rPr lang="en-GB" sz="750" baseline="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ændr 2. linje til</a:t>
            </a:r>
            <a:endParaRPr lang="en-GB" sz="1349" dirty="0"/>
          </a:p>
          <a:p>
            <a:pPr algn="r">
              <a:lnSpc>
                <a:spcPct val="100000"/>
              </a:lnSpc>
            </a:pPr>
            <a:r>
              <a:rPr lang="en-GB" sz="75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AU Passata Bold</a:t>
            </a:r>
            <a:endParaRPr lang="en-GB" sz="3593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771080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ine title and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vid baggrund"/>
          <p:cNvSpPr/>
          <p:nvPr userDrawn="1"/>
        </p:nvSpPr>
        <p:spPr bwMode="auto">
          <a:xfrm>
            <a:off x="0" y="3"/>
            <a:ext cx="12196376" cy="5894387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472" tIns="34237" rIns="68472" bIns="3423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684678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198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16" name="Black Rectangle"/>
          <p:cNvSpPr/>
          <p:nvPr userDrawn="1"/>
        </p:nvSpPr>
        <p:spPr>
          <a:xfrm>
            <a:off x="990259" y="1045684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93" dirty="0"/>
          </a:p>
          <a:p>
            <a:pPr algn="ctr"/>
            <a:endParaRPr lang="en-GB" sz="3593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15995" y="228636"/>
            <a:ext cx="11559011" cy="752101"/>
          </a:xfrm>
        </p:spPr>
        <p:txBody>
          <a:bodyPr anchor="t" anchorCtr="0"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6096" y="1373027"/>
            <a:ext cx="10222986" cy="4521367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18" name="TextBox 17"/>
          <p:cNvSpPr txBox="1"/>
          <p:nvPr userDrawn="1"/>
        </p:nvSpPr>
        <p:spPr>
          <a:xfrm>
            <a:off x="-1974112" y="340165"/>
            <a:ext cx="1826368" cy="23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75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Overskrift én linje</a:t>
            </a:r>
            <a:endParaRPr lang="en-GB" sz="1349" dirty="0"/>
          </a:p>
          <a:p>
            <a:pPr algn="r">
              <a:lnSpc>
                <a:spcPct val="100000"/>
              </a:lnSpc>
            </a:pPr>
            <a:r>
              <a:rPr lang="en-GB" sz="75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Light eller AU Passata Bold</a:t>
            </a:r>
            <a:endParaRPr lang="en-GB" sz="3593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1274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21">
          <p15:clr>
            <a:srgbClr val="00000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vid baggrund"/>
          <p:cNvSpPr/>
          <p:nvPr userDrawn="1"/>
        </p:nvSpPr>
        <p:spPr bwMode="auto">
          <a:xfrm>
            <a:off x="0" y="0"/>
            <a:ext cx="12196376" cy="5911200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472" tIns="34237" rIns="68472" bIns="3423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684678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198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15" name="Black Rectangle"/>
          <p:cNvSpPr/>
          <p:nvPr userDrawn="1"/>
        </p:nvSpPr>
        <p:spPr>
          <a:xfrm>
            <a:off x="990259" y="1045684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93" dirty="0"/>
          </a:p>
          <a:p>
            <a:pPr algn="ctr"/>
            <a:endParaRPr lang="en-GB" sz="3593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6885" y="230400"/>
            <a:ext cx="5645733" cy="752400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GB" dirty="0"/>
              <a:t>Insert title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986110" y="1371609"/>
            <a:ext cx="4976521" cy="4525964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31837" y="315914"/>
            <a:ext cx="5645580" cy="5581651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-1974112" y="340165"/>
            <a:ext cx="1826368" cy="23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75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Overskrift én linje</a:t>
            </a:r>
            <a:endParaRPr lang="en-GB" sz="1349" dirty="0"/>
          </a:p>
          <a:p>
            <a:pPr algn="r">
              <a:lnSpc>
                <a:spcPct val="100000"/>
              </a:lnSpc>
            </a:pPr>
            <a:r>
              <a:rPr lang="en-GB" sz="75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Light eller AU Passata Bold</a:t>
            </a:r>
            <a:endParaRPr lang="en-GB" sz="3593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3931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4">
          <p15:clr>
            <a:srgbClr val="A4A3A4"/>
          </p15:clr>
        </p15:guide>
        <p15:guide id="2" pos="3755">
          <p15:clr>
            <a:srgbClr val="A4A3A4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al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vid baggrund"/>
          <p:cNvSpPr/>
          <p:nvPr userDrawn="1"/>
        </p:nvSpPr>
        <p:spPr bwMode="auto">
          <a:xfrm>
            <a:off x="0" y="10"/>
            <a:ext cx="12196376" cy="5911011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472" tIns="34237" rIns="68472" bIns="3423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684678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198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15" name="Black Rectangle"/>
          <p:cNvSpPr/>
          <p:nvPr userDrawn="1"/>
        </p:nvSpPr>
        <p:spPr>
          <a:xfrm>
            <a:off x="1001336" y="2694543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93" dirty="0"/>
          </a:p>
          <a:p>
            <a:pPr algn="ctr"/>
            <a:endParaRPr lang="en-GB" sz="3593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110" y="1484790"/>
            <a:ext cx="4976521" cy="971980"/>
          </a:xfrm>
        </p:spPr>
        <p:txBody>
          <a:bodyPr anchor="b" anchorCtr="0"/>
          <a:lstStyle>
            <a:lvl1pPr>
              <a:lnSpc>
                <a:spcPct val="95000"/>
              </a:lnSpc>
              <a:defRPr sz="2248">
                <a:latin typeface="+mn-lt"/>
              </a:defRPr>
            </a:lvl1pPr>
          </a:lstStyle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986110" y="3010711"/>
            <a:ext cx="4976521" cy="1858450"/>
          </a:xfrm>
        </p:spPr>
        <p:txBody>
          <a:bodyPr/>
          <a:lstStyle>
            <a:lvl1pPr marL="0" indent="0">
              <a:buFont typeface="Calibri" panose="020F0502020204030204" pitchFamily="34" charset="0"/>
              <a:buChar char="​"/>
              <a:defRPr/>
            </a:lvl1pPr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dirty="0"/>
              <a:t>6</a:t>
            </a:r>
            <a:endParaRPr lang="en-GB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33238" y="315913"/>
            <a:ext cx="5646270" cy="558360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-1974112" y="1780886"/>
            <a:ext cx="1826368" cy="1156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en-GB" sz="75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Overskrift to</a:t>
            </a:r>
            <a:r>
              <a:rPr lang="en-GB" sz="750" baseline="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 linjer</a:t>
            </a:r>
            <a:endParaRPr lang="en-GB" sz="1349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Date Placeholder 4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9616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30">
          <p15:clr>
            <a:srgbClr val="A4A3A4"/>
          </p15:clr>
        </p15:guide>
        <p15:guide id="2" pos="3755">
          <p15:clr>
            <a:srgbClr val="A4A3A4"/>
          </p15:clr>
        </p15:guide>
        <p15:guide id="3" orient="horz" pos="2558">
          <p15:clr>
            <a:srgbClr val="A4A3A4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"/>
          <p:cNvSpPr>
            <a:spLocks noGrp="1"/>
          </p:cNvSpPr>
          <p:nvPr>
            <p:ph type="pic" sz="quarter" idx="11" hasCustomPrompt="1"/>
          </p:nvPr>
        </p:nvSpPr>
        <p:spPr>
          <a:xfrm>
            <a:off x="316884" y="316800"/>
            <a:ext cx="11562611" cy="55836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580016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1" hasCustomPrompt="1"/>
          </p:nvPr>
        </p:nvSpPr>
        <p:spPr>
          <a:xfrm>
            <a:off x="316888" y="316800"/>
            <a:ext cx="5646270" cy="55836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233238" y="316800"/>
            <a:ext cx="5646270" cy="55836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4360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4">
          <p15:clr>
            <a:srgbClr val="A4A3A4"/>
          </p15:clr>
        </p15:guide>
        <p15:guide id="2" pos="3754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 s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Hvid dæk boks"/>
          <p:cNvSpPr/>
          <p:nvPr userDrawn="1"/>
        </p:nvSpPr>
        <p:spPr>
          <a:xfrm>
            <a:off x="0" y="0"/>
            <a:ext cx="7468271" cy="685800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800" dirty="0">
              <a:solidFill>
                <a:schemeClr val="accent3"/>
              </a:solidFill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9DD8573-7CBB-4652-800A-962EBE3F4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7273E1E-FA5D-4987-9D9D-4AC13F5E6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" descr="{&quot;templafy&quot;:{&quot;id&quot;:&quot;bdc714a8-d20d-4719-a3c1-b2f834075ade&quot;}}" hidden="1" title="UserProfile.CenterFreeText">
            <a:extLst>
              <a:ext uri="{FF2B5EF4-FFF2-40B4-BE49-F238E27FC236}">
                <a16:creationId xmlns:a16="http://schemas.microsoft.com/office/drawing/2014/main" id="{453BA509-AEA3-42BA-BFA2-2D8120882C40}"/>
              </a:ext>
            </a:extLst>
          </p:cNvPr>
          <p:cNvSpPr txBox="1">
            <a:spLocks/>
          </p:cNvSpPr>
          <p:nvPr userDrawn="1"/>
        </p:nvSpPr>
        <p:spPr>
          <a:xfrm>
            <a:off x="1366838" y="404686"/>
            <a:ext cx="6120000" cy="4221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da-DK" sz="1200" b="1" kern="1200" baseline="0" dirty="0">
                <a:solidFill>
                  <a:srgbClr val="B3B3B3"/>
                </a:solidFill>
                <a:latin typeface="+mn-lt"/>
                <a:ea typeface="+mn-ea"/>
                <a:cs typeface="+mn-cs"/>
              </a:defRPr>
            </a:lvl1pPr>
            <a:lvl2pPr marL="504000" indent="-144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2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8000" indent="-126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8000" indent="-108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lang="da-DK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2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7D7D7D"/>
              </a:buClr>
              <a:buFont typeface="Arial" panose="020B0604020202020204" pitchFamily="34" charset="0"/>
              <a:buChar char="•"/>
              <a:defRPr lang="da-DK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88000" indent="-900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" descr="{&quot;templafy&quot;:{&quot;id&quot;:&quot;83148a1f-eba3-4303-bd6d-82076bca1a76&quot;}}" title="Form.PresentationTitle">
            <a:extLst>
              <a:ext uri="{FF2B5EF4-FFF2-40B4-BE49-F238E27FC236}">
                <a16:creationId xmlns:a16="http://schemas.microsoft.com/office/drawing/2014/main" id="{31DBF82D-AED9-4C75-AB26-9B39D93076D8}"/>
              </a:ext>
            </a:extLst>
          </p:cNvPr>
          <p:cNvSpPr txBox="1"/>
          <p:nvPr userDrawn="1"/>
        </p:nvSpPr>
        <p:spPr>
          <a:xfrm>
            <a:off x="1368000" y="6289200"/>
            <a:ext cx="3780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9" name="text" descr="{&quot;templafy&quot;:{&quot;id&quot;:&quot;b2b07c08-6616-44e7-a41a-00ffaa87d8eb&quot;}}" title="UserProfile.Name">
            <a:extLst>
              <a:ext uri="{FF2B5EF4-FFF2-40B4-BE49-F238E27FC236}">
                <a16:creationId xmlns:a16="http://schemas.microsoft.com/office/drawing/2014/main" id="{ED054364-705A-41F4-AFC5-8A7293874A86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0" name="text" descr="{&quot;templafy&quot;:{&quot;id&quot;:&quot;afd9eac1-e16c-442f-a946-7bfd375307bf&quot;}}" hidden="1" title="Form.Manuel_dato">
            <a:extLst>
              <a:ext uri="{FF2B5EF4-FFF2-40B4-BE49-F238E27FC236}">
                <a16:creationId xmlns:a16="http://schemas.microsoft.com/office/drawing/2014/main" id="{824D26E6-65DD-4D4A-90AB-8D1335ED0F78}"/>
              </a:ext>
            </a:extLst>
          </p:cNvPr>
          <p:cNvSpPr txBox="1"/>
          <p:nvPr userDrawn="1"/>
        </p:nvSpPr>
        <p:spPr>
          <a:xfrm>
            <a:off x="7891200" y="6289200"/>
            <a:ext cx="33876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endParaRPr lang="da-DK" sz="1000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4CDF0DB2-1037-4B3D-9866-85FC4F8951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6836" y="872078"/>
            <a:ext cx="5209234" cy="826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28pt i max. to linjer teksten vokser opad </a:t>
            </a:r>
            <a:endParaRPr lang="en-GB" dirty="0"/>
          </a:p>
        </p:txBody>
      </p:sp>
      <p:sp>
        <p:nvSpPr>
          <p:cNvPr id="33" name="Pladsholder til billede 2">
            <a:extLst>
              <a:ext uri="{FF2B5EF4-FFF2-40B4-BE49-F238E27FC236}">
                <a16:creationId xmlns:a16="http://schemas.microsoft.com/office/drawing/2014/main" id="{E4E17A79-F37E-41DA-B54E-BEA03CB50E1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468271" y="0"/>
            <a:ext cx="4723729" cy="6858000"/>
          </a:xfrm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accent6"/>
                </a:solidFill>
              </a:defRPr>
            </a:lvl1pPr>
          </a:lstStyle>
          <a:p>
            <a:r>
              <a:rPr lang="da-DK" dirty="0"/>
              <a:t>Klik på ikon for at indsætte billede</a:t>
            </a:r>
          </a:p>
        </p:txBody>
      </p:sp>
      <p:sp>
        <p:nvSpPr>
          <p:cNvPr id="34" name="Pladsholder til indhold 2">
            <a:extLst>
              <a:ext uri="{FF2B5EF4-FFF2-40B4-BE49-F238E27FC236}">
                <a16:creationId xmlns:a16="http://schemas.microsoft.com/office/drawing/2014/main" id="{4F6C9FCB-BFA0-43B3-A8D2-73B806091F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366836" y="2006069"/>
            <a:ext cx="5213351" cy="3831675"/>
          </a:xfrm>
        </p:spPr>
        <p:txBody>
          <a:bodyPr/>
          <a:lstStyle>
            <a:lvl1pPr marL="270000" indent="-270000">
              <a:defRPr baseline="0">
                <a:solidFill>
                  <a:schemeClr val="bg1"/>
                </a:solidFill>
              </a:defRPr>
            </a:lvl1pPr>
            <a:lvl2pPr marL="630000" indent="-270000">
              <a:defRPr>
                <a:solidFill>
                  <a:schemeClr val="bg1"/>
                </a:solidFill>
              </a:defRPr>
            </a:lvl2pPr>
            <a:lvl3pPr marL="936000" indent="-234000">
              <a:defRPr>
                <a:solidFill>
                  <a:schemeClr val="bg1"/>
                </a:solidFill>
              </a:defRPr>
            </a:lvl3pPr>
            <a:lvl4pPr marL="1296000" indent="-216000">
              <a:defRPr>
                <a:solidFill>
                  <a:schemeClr val="bg1"/>
                </a:solidFill>
              </a:defRPr>
            </a:lvl4pPr>
            <a:lvl5pPr marL="1656000" indent="-216000">
              <a:defRPr>
                <a:solidFill>
                  <a:schemeClr val="bg1"/>
                </a:solidFill>
              </a:defRPr>
            </a:lvl5pPr>
            <a:lvl6pPr marL="1998000" indent="-180000">
              <a:defRPr>
                <a:solidFill>
                  <a:schemeClr val="bg1"/>
                </a:solidFill>
              </a:defRPr>
            </a:lvl6pPr>
            <a:lvl7pPr marL="2358000" indent="-180000">
              <a:defRPr>
                <a:solidFill>
                  <a:schemeClr val="bg1"/>
                </a:solidFill>
              </a:defRPr>
            </a:lvl7pPr>
            <a:lvl8pPr marL="2718000" indent="-180000">
              <a:defRPr>
                <a:solidFill>
                  <a:schemeClr val="bg1"/>
                </a:solidFill>
              </a:defRPr>
            </a:lvl8pPr>
            <a:lvl9pPr marL="2718000" indent="-180000"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Brødtekst 22pt skrives her, eller tabel og diagram indsætte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  <a:p>
            <a:pPr lvl="8"/>
            <a:endParaRPr lang="da-DK" dirty="0"/>
          </a:p>
        </p:txBody>
      </p:sp>
      <p:pic>
        <p:nvPicPr>
          <p:cNvPr id="460697182" name="image" descr="{&quot;templafy&quot;:{&quot;id&quot;:&quot;08f3f0ff-c39f-4d6c-bcfd-4e4b73446ca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324" y="6314400"/>
            <a:ext cx="1324800" cy="421200"/>
          </a:xfrm>
          <a:prstGeom prst="rect">
            <a:avLst/>
          </a:prstGeom>
        </p:spPr>
      </p:pic>
      <p:sp>
        <p:nvSpPr>
          <p:cNvPr id="14" name="Pladsholder til diasnummer 5">
            <a:extLst>
              <a:ext uri="{FF2B5EF4-FFF2-40B4-BE49-F238E27FC236}">
                <a16:creationId xmlns:a16="http://schemas.microsoft.com/office/drawing/2014/main" id="{7B82127F-C779-47F3-B900-DFD45525A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6504828"/>
            <a:ext cx="687386" cy="180000"/>
          </a:xfrm>
        </p:spPr>
        <p:txBody>
          <a:bodyPr/>
          <a:lstStyle>
            <a:lvl1pPr>
              <a:defRPr>
                <a:solidFill>
                  <a:srgbClr val="B3B3B3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6" name="Billede 25" descr="Et billede, der indeholder tekst&#10;&#10;Automatisk genereret beskrivelse">
            <a:extLst>
              <a:ext uri="{FF2B5EF4-FFF2-40B4-BE49-F238E27FC236}">
                <a16:creationId xmlns:a16="http://schemas.microsoft.com/office/drawing/2014/main" id="{E772A754-8120-4FC9-9A6A-B340124D34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00108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"/>
          <p:cNvSpPr>
            <a:spLocks noGrp="1"/>
          </p:cNvSpPr>
          <p:nvPr>
            <p:ph type="pic" sz="quarter" idx="11" hasCustomPrompt="1"/>
          </p:nvPr>
        </p:nvSpPr>
        <p:spPr>
          <a:xfrm>
            <a:off x="316888" y="316800"/>
            <a:ext cx="5646270" cy="26532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316888" y="3237373"/>
            <a:ext cx="5646270" cy="26532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33238" y="316800"/>
            <a:ext cx="5646270" cy="55836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9" name="Footer Placeholder 8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722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2">
          <p15:clr>
            <a:srgbClr val="A4A3A4"/>
          </p15:clr>
        </p15:guide>
        <p15:guide id="2" pos="3755">
          <p15:clr>
            <a:srgbClr val="A4A3A4"/>
          </p15:clr>
        </p15:guide>
        <p15:guide id="3" orient="horz" pos="1699">
          <p15:clr>
            <a:srgbClr val="A4A3A4"/>
          </p15:clr>
        </p15:guide>
        <p15:guide id="4" orient="horz" pos="1560">
          <p15:clr>
            <a:srgbClr val="A4A3A4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>
          <a:xfrm>
            <a:off x="316888" y="316800"/>
            <a:ext cx="5646270" cy="5583600"/>
          </a:xfr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233238" y="316800"/>
            <a:ext cx="5646270" cy="26532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33238" y="3237373"/>
            <a:ext cx="5646270" cy="2653200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9" name="Footer Placeholder 8" hidden="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4052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2">
          <p15:clr>
            <a:srgbClr val="A4A3A4"/>
          </p15:clr>
        </p15:guide>
        <p15:guide id="2" pos="3755">
          <p15:clr>
            <a:srgbClr val="A4A3A4"/>
          </p15:clr>
        </p15:guide>
        <p15:guide id="3" orient="horz" pos="1699">
          <p15:clr>
            <a:srgbClr val="A4A3A4"/>
          </p15:clr>
        </p15:guide>
        <p15:guide id="4" orient="horz" pos="1560">
          <p15:clr>
            <a:srgbClr val="A4A3A4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315997" y="315918"/>
            <a:ext cx="11560010" cy="6220353"/>
          </a:xfr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GB" dirty="0"/>
              <a:t>Click here and add image via Templafy Image Librar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106963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vid baggrund"/>
          <p:cNvSpPr/>
          <p:nvPr userDrawn="1"/>
        </p:nvSpPr>
        <p:spPr bwMode="auto">
          <a:xfrm>
            <a:off x="2" y="3"/>
            <a:ext cx="12192000" cy="5897563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472" tIns="34237" rIns="68472" bIns="34237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684678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198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Text Placeholder 61"/>
          <p:cNvSpPr>
            <a:spLocks noGrp="1"/>
          </p:cNvSpPr>
          <p:nvPr>
            <p:ph type="body" sz="quarter" idx="16" hasCustomPrompt="1"/>
          </p:nvPr>
        </p:nvSpPr>
        <p:spPr>
          <a:xfrm>
            <a:off x="1846422" y="1412776"/>
            <a:ext cx="8499157" cy="3744416"/>
          </a:xfrm>
        </p:spPr>
        <p:txBody>
          <a:bodyPr/>
          <a:lstStyle>
            <a:lvl1pPr marL="323471" indent="-323471" algn="ctr">
              <a:lnSpc>
                <a:spcPct val="107000"/>
              </a:lnSpc>
              <a:buSzPct val="250000"/>
              <a:buFontTx/>
              <a:buBlip>
                <a:blip r:embed="rId2"/>
              </a:buBlip>
              <a:defRPr sz="2098">
                <a:latin typeface="Georgia" panose="02040502050405020303" pitchFamily="18" charset="0"/>
              </a:defRPr>
            </a:lvl1pPr>
            <a:lvl2pPr marL="161735" indent="-161735" algn="ctr">
              <a:lnSpc>
                <a:spcPct val="99000"/>
              </a:lnSpc>
              <a:buFont typeface="Arial" panose="020B0604020202020204" pitchFamily="34" charset="0"/>
              <a:buChar char="-"/>
              <a:defRPr sz="1498" cap="all" baseline="0">
                <a:latin typeface="Georgia" panose="02040502050405020303" pitchFamily="18" charset="0"/>
              </a:defRPr>
            </a:lvl2pPr>
            <a:lvl3pPr algn="ctr">
              <a:buFontTx/>
              <a:buNone/>
              <a:defRPr/>
            </a:lvl3pPr>
          </a:lstStyle>
          <a:p>
            <a:pPr lvl="0"/>
            <a:r>
              <a:rPr lang="en-GB" dirty="0"/>
              <a:t>Click to add Quote text, for next level ENTER and TAB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919407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vid baggrund"/>
          <p:cNvSpPr/>
          <p:nvPr userDrawn="1"/>
        </p:nvSpPr>
        <p:spPr bwMode="auto">
          <a:xfrm>
            <a:off x="2" y="3"/>
            <a:ext cx="12192000" cy="5897563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472" tIns="34237" rIns="68472" bIns="34237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684678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198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16007" y="230400"/>
            <a:ext cx="11566212" cy="752400"/>
          </a:xfrm>
        </p:spPr>
        <p:txBody>
          <a:bodyPr anchor="t" anchorCtr="0"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10" name="Footer Placeholder 9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998849" y="1853464"/>
            <a:ext cx="6266328" cy="2725288"/>
          </a:xfrm>
        </p:spPr>
        <p:txBody>
          <a:bodyPr/>
          <a:lstStyle>
            <a:lvl1pPr marL="323471" indent="-323471" algn="ctr">
              <a:lnSpc>
                <a:spcPct val="107000"/>
              </a:lnSpc>
              <a:buSzPct val="250000"/>
              <a:buFontTx/>
              <a:buBlip>
                <a:blip r:embed="rId2"/>
              </a:buBlip>
              <a:defRPr sz="2098">
                <a:latin typeface="Georgia" panose="02040502050405020303" pitchFamily="18" charset="0"/>
              </a:defRPr>
            </a:lvl1pPr>
            <a:lvl2pPr marL="161735" indent="-161735" algn="ctr">
              <a:lnSpc>
                <a:spcPct val="99000"/>
              </a:lnSpc>
              <a:buFont typeface="Arial" panose="020B0604020202020204" pitchFamily="34" charset="0"/>
              <a:buChar char="-"/>
              <a:defRPr sz="1498" cap="all" baseline="0">
                <a:latin typeface="Georgia" panose="02040502050405020303" pitchFamily="18" charset="0"/>
              </a:defRPr>
            </a:lvl2pPr>
            <a:lvl3pPr marL="431294" indent="0">
              <a:buNone/>
              <a:defRPr/>
            </a:lvl3pPr>
          </a:lstStyle>
          <a:p>
            <a:pPr lvl="0"/>
            <a:r>
              <a:rPr lang="en-GB" dirty="0"/>
              <a:t>Click to add Quote text, for next level ENTER and TAB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334996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"/>
          <p:cNvSpPr>
            <a:spLocks noGrp="1"/>
          </p:cNvSpPr>
          <p:nvPr>
            <p:ph sz="quarter" idx="12"/>
          </p:nvPr>
        </p:nvSpPr>
        <p:spPr>
          <a:xfrm>
            <a:off x="328698" y="328613"/>
            <a:ext cx="11553659" cy="621347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272753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6" name="TextBox 5"/>
          <p:cNvSpPr txBox="1"/>
          <p:nvPr userDrawn="1"/>
        </p:nvSpPr>
        <p:spPr>
          <a:xfrm>
            <a:off x="-2160917" y="1022486"/>
            <a:ext cx="2013173" cy="4734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</a:pPr>
            <a:r>
              <a:rPr lang="en-GB" sz="75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Ændr 2. linje i overskriften </a:t>
            </a:r>
            <a:br>
              <a:rPr lang="en-GB" sz="750" noProof="1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GB" sz="750" noProof="1">
                <a:solidFill>
                  <a:schemeClr val="tx1">
                    <a:lumMod val="75000"/>
                    <a:lumOff val="25000"/>
                  </a:schemeClr>
                </a:solidFill>
              </a:rPr>
              <a:t>til AU Passata Light</a:t>
            </a:r>
            <a:endParaRPr lang="en-GB" sz="3593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978144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766029" y="1340776"/>
            <a:ext cx="1224455" cy="504056"/>
          </a:xfrm>
          <a:prstGeom prst="rect">
            <a:avLst/>
          </a:prstGeom>
          <a:solidFill>
            <a:schemeClr val="bg1"/>
          </a:solidFill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472" tIns="34237" rIns="68472" bIns="34237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684678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1198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U Passata" pitchFamily="34" charset="0"/>
            </a:endParaRPr>
          </a:p>
        </p:txBody>
      </p:sp>
      <p:sp>
        <p:nvSpPr>
          <p:cNvPr id="8" name="Slide Number Placeholder 7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Date Placeholder 5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7" name="Footer Placeholder 6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397499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arvet baggrund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93" dirty="0"/>
          </a:p>
        </p:txBody>
      </p:sp>
      <p:pic>
        <p:nvPicPr>
          <p:cNvPr id="4" name="Logo BS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882" y="2229266"/>
            <a:ext cx="2398247" cy="2161284"/>
          </a:xfrm>
          <a:prstGeom prst="rect">
            <a:avLst/>
          </a:prstGeom>
        </p:spPr>
      </p:pic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8"/>
            <a:ext cx="0" cy="578152"/>
          </a:xfrm>
        </p:spPr>
        <p:txBody>
          <a:bodyPr/>
          <a:lstStyle>
            <a:lvl1pPr>
              <a:defRPr sz="147">
                <a:noFill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56589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arvet baggrund"/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93" dirty="0"/>
          </a:p>
        </p:txBody>
      </p:sp>
      <p:pic>
        <p:nvPicPr>
          <p:cNvPr id="7" name="Logo BS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9058" y="2520004"/>
            <a:ext cx="1650805" cy="1487695"/>
          </a:xfrm>
          <a:prstGeom prst="rect">
            <a:avLst/>
          </a:prstGeom>
        </p:spPr>
      </p:pic>
      <p:sp>
        <p:nvSpPr>
          <p:cNvPr id="6" name="OFF_logo2Computed"/>
          <p:cNvSpPr txBox="1">
            <a:spLocks noChangeArrowheads="1"/>
          </p:cNvSpPr>
          <p:nvPr userDrawn="1"/>
        </p:nvSpPr>
        <p:spPr bwMode="auto">
          <a:xfrm>
            <a:off x="4393159" y="2520007"/>
            <a:ext cx="7482863" cy="652119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369312" rIns="0" bIns="0">
            <a:spAutoFit/>
          </a:bodyPr>
          <a:lstStyle/>
          <a:p>
            <a:pPr>
              <a:lnSpc>
                <a:spcPct val="105000"/>
              </a:lnSpc>
              <a:defRPr/>
            </a:pPr>
            <a:endParaRPr lang="en-GB" sz="1722" b="0" cap="all" spc="151" baseline="0" dirty="0">
              <a:solidFill>
                <a:schemeClr val="bg1"/>
              </a:solidFill>
              <a:latin typeface="AU Passata" panose="020B0503030502030804" pitchFamily="34" charset="0"/>
            </a:endParaRPr>
          </a:p>
        </p:txBody>
      </p:sp>
      <p:sp>
        <p:nvSpPr>
          <p:cNvPr id="10" name="OFF_logo1Computed"/>
          <p:cNvSpPr txBox="1">
            <a:spLocks noChangeArrowheads="1"/>
          </p:cNvSpPr>
          <p:nvPr userDrawn="1"/>
        </p:nvSpPr>
        <p:spPr bwMode="auto">
          <a:xfrm>
            <a:off x="4871553" y="2545403"/>
            <a:ext cx="7482863" cy="1207116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91654" rIns="0" bIns="0">
            <a:spAutoFit/>
          </a:bodyPr>
          <a:lstStyle/>
          <a:p>
            <a:pPr>
              <a:lnSpc>
                <a:spcPct val="105000"/>
              </a:lnSpc>
              <a:defRPr/>
            </a:pPr>
            <a:endParaRPr lang="en-GB" sz="1722" b="1" cap="all" spc="74" baseline="0" dirty="0">
              <a:solidFill>
                <a:schemeClr val="bg1"/>
              </a:solidFill>
              <a:latin typeface="AU Passata" panose="020B0503030502030804" pitchFamily="34" charset="0"/>
            </a:endParaRPr>
          </a:p>
          <a:p>
            <a:pPr>
              <a:lnSpc>
                <a:spcPct val="105000"/>
              </a:lnSpc>
              <a:defRPr/>
            </a:pPr>
            <a:endParaRPr lang="en-GB" sz="1722" b="1" cap="all" spc="74" baseline="0" dirty="0">
              <a:solidFill>
                <a:schemeClr val="bg1"/>
              </a:solidFill>
              <a:latin typeface="AU Passata" panose="020B0503030502030804" pitchFamily="34" charset="0"/>
            </a:endParaRPr>
          </a:p>
          <a:p>
            <a:pPr>
              <a:lnSpc>
                <a:spcPct val="105000"/>
              </a:lnSpc>
              <a:defRPr/>
            </a:pPr>
            <a:r>
              <a:rPr lang="en-GB" sz="1722" b="1" cap="all" spc="74" baseline="0" dirty="0">
                <a:solidFill>
                  <a:schemeClr val="bg1"/>
                </a:solidFill>
                <a:latin typeface="AU Passata" panose="020B0503030502030804" pitchFamily="34" charset="0"/>
              </a:rPr>
              <a:t>INSTITUT FOR STATSKUNDSKAB</a:t>
            </a:r>
          </a:p>
          <a:p>
            <a:pPr>
              <a:lnSpc>
                <a:spcPct val="105000"/>
              </a:lnSpc>
              <a:defRPr/>
            </a:pPr>
            <a:r>
              <a:rPr lang="en-GB" sz="1722" b="0" cap="all" spc="74" baseline="0" dirty="0">
                <a:solidFill>
                  <a:schemeClr val="bg1"/>
                </a:solidFill>
                <a:latin typeface="AU Passata" panose="020B0503030502030804" pitchFamily="34" charset="0"/>
              </a:rPr>
              <a:t>AARHUS UNIVERSITET</a:t>
            </a:r>
          </a:p>
        </p:txBody>
      </p:sp>
      <p:sp>
        <p:nvSpPr>
          <p:cNvPr id="9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11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8"/>
            <a:ext cx="0" cy="578152"/>
          </a:xfrm>
        </p:spPr>
        <p:txBody>
          <a:bodyPr/>
          <a:lstStyle>
            <a:lvl1pPr>
              <a:defRPr sz="147">
                <a:noFill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61797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3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5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63.xml"/><Relationship Id="rId5" Type="http://schemas.openxmlformats.org/officeDocument/2006/relationships/slideLayout" Target="../slideLayouts/slideLayout157.xml"/><Relationship Id="rId10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3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70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68.xml"/><Relationship Id="rId10" Type="http://schemas.openxmlformats.org/officeDocument/2006/relationships/slideLayout" Target="../slideLayouts/slideLayout173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13" Type="http://schemas.openxmlformats.org/officeDocument/2006/relationships/image" Target="../media/image31.png"/><Relationship Id="rId3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81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76.xml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85.xml"/><Relationship Id="rId5" Type="http://schemas.openxmlformats.org/officeDocument/2006/relationships/slideLayout" Target="../slideLayouts/slideLayout179.xml"/><Relationship Id="rId10" Type="http://schemas.openxmlformats.org/officeDocument/2006/relationships/slideLayout" Target="../slideLayouts/slideLayout184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3.xml"/><Relationship Id="rId3" Type="http://schemas.openxmlformats.org/officeDocument/2006/relationships/slideLayout" Target="../slideLayouts/slideLayout188.xml"/><Relationship Id="rId7" Type="http://schemas.openxmlformats.org/officeDocument/2006/relationships/slideLayout" Target="../slideLayouts/slideLayout192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1" Type="http://schemas.openxmlformats.org/officeDocument/2006/relationships/slideLayout" Target="../slideLayouts/slideLayout196.xml"/><Relationship Id="rId5" Type="http://schemas.openxmlformats.org/officeDocument/2006/relationships/slideLayout" Target="../slideLayouts/slideLayout190.xml"/><Relationship Id="rId10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image" Target="../media/image15.pn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14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13.emf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image" Target="../media/image25.png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image" Target="../media/image14.emf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56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image" Target="../media/image25.png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image" Target="../media/image14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image" Target="../media/image23.emf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78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77.xml"/><Relationship Id="rId9" Type="http://schemas.openxmlformats.org/officeDocument/2006/relationships/vmlDrawing" Target="../drawings/vmlDrawing2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83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image" Target="../media/image25.png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image" Target="../media/image14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image" Target="../media/image25.png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image" Target="../media/image14.emf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slideLayout" Target="../slideLayouts/slideLayout134.xml"/><Relationship Id="rId18" Type="http://schemas.openxmlformats.org/officeDocument/2006/relationships/slideLayout" Target="../slideLayouts/slideLayout139.xml"/><Relationship Id="rId3" Type="http://schemas.openxmlformats.org/officeDocument/2006/relationships/slideLayout" Target="../slideLayouts/slideLayout124.xml"/><Relationship Id="rId21" Type="http://schemas.openxmlformats.org/officeDocument/2006/relationships/theme" Target="../theme/theme8.xml"/><Relationship Id="rId7" Type="http://schemas.openxmlformats.org/officeDocument/2006/relationships/slideLayout" Target="../slideLayouts/slideLayout128.xml"/><Relationship Id="rId12" Type="http://schemas.openxmlformats.org/officeDocument/2006/relationships/slideLayout" Target="../slideLayouts/slideLayout133.xml"/><Relationship Id="rId17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23.xml"/><Relationship Id="rId16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5" Type="http://schemas.openxmlformats.org/officeDocument/2006/relationships/slideLayout" Target="../slideLayouts/slideLayout136.xml"/><Relationship Id="rId23" Type="http://schemas.openxmlformats.org/officeDocument/2006/relationships/image" Target="../media/image25.png"/><Relationship Id="rId10" Type="http://schemas.openxmlformats.org/officeDocument/2006/relationships/slideLayout" Target="../slideLayouts/slideLayout131.xml"/><Relationship Id="rId19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slideLayout" Target="../slideLayouts/slideLayout135.xml"/><Relationship Id="rId22" Type="http://schemas.openxmlformats.org/officeDocument/2006/relationships/image" Target="../media/image14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9.xml"/><Relationship Id="rId3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4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42.xml"/><Relationship Id="rId6" Type="http://schemas.openxmlformats.org/officeDocument/2006/relationships/slideLayout" Target="../slideLayouts/slideLayout147.xml"/><Relationship Id="rId11" Type="http://schemas.openxmlformats.org/officeDocument/2006/relationships/slideLayout" Target="../slideLayouts/slideLayout152.xml"/><Relationship Id="rId5" Type="http://schemas.openxmlformats.org/officeDocument/2006/relationships/slideLayout" Target="../slideLayouts/slideLayout146.xml"/><Relationship Id="rId10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45.xml"/><Relationship Id="rId9" Type="http://schemas.openxmlformats.org/officeDocument/2006/relationships/slideLayout" Target="../slideLayouts/slideLayout1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1366837" y="872078"/>
            <a:ext cx="10137776" cy="82691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-DK" dirty="0"/>
              <a:t>Overskrift 28pt i max. to linjer </a:t>
            </a:r>
            <a:br>
              <a:rPr lang="da-DK" dirty="0"/>
            </a:br>
            <a:r>
              <a:rPr lang="da-DK" dirty="0"/>
              <a:t>teksten vokser opad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1366837" y="1993525"/>
            <a:ext cx="10137776" cy="34912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Brødtekst 22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504613" y="6288074"/>
            <a:ext cx="687386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lang="da-DK" sz="9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Footer" hidden="1"/>
          <p:cNvSpPr>
            <a:spLocks noGrp="1"/>
          </p:cNvSpPr>
          <p:nvPr>
            <p:ph type="ftr" sz="quarter" idx="3"/>
          </p:nvPr>
        </p:nvSpPr>
        <p:spPr>
          <a:xfrm>
            <a:off x="0" y="68472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da-DK" sz="100" kern="1200" dirty="0">
                <a:noFill/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4" name="Dato" hidden="1"/>
          <p:cNvSpPr>
            <a:spLocks noGrp="1"/>
          </p:cNvSpPr>
          <p:nvPr>
            <p:ph type="dt" sz="half" idx="2"/>
          </p:nvPr>
        </p:nvSpPr>
        <p:spPr>
          <a:xfrm>
            <a:off x="0" y="68472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">
                <a:noFill/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82506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8" r:id="rId3"/>
    <p:sldLayoutId id="2147483680" r:id="rId4"/>
    <p:sldLayoutId id="2147483676" r:id="rId5"/>
    <p:sldLayoutId id="2147483679" r:id="rId6"/>
    <p:sldLayoutId id="2147483678" r:id="rId7"/>
    <p:sldLayoutId id="2147483677" r:id="rId8"/>
    <p:sldLayoutId id="2147483672" r:id="rId9"/>
    <p:sldLayoutId id="2147483675" r:id="rId10"/>
    <p:sldLayoutId id="2147483667" r:id="rId11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rgbClr val="1F4A60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sz="2200" kern="1200" baseline="0">
          <a:solidFill>
            <a:srgbClr val="1F4A60"/>
          </a:solidFill>
          <a:latin typeface="+mn-lt"/>
          <a:ea typeface="+mn-ea"/>
          <a:cs typeface="+mn-cs"/>
        </a:defRPr>
      </a:lvl1pPr>
      <a:lvl2pPr marL="504000" indent="-144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2000" kern="1200" baseline="0" dirty="0" smtClean="0">
          <a:solidFill>
            <a:srgbClr val="1F4A60"/>
          </a:solidFill>
          <a:latin typeface="+mn-lt"/>
          <a:ea typeface="+mn-ea"/>
          <a:cs typeface="+mn-cs"/>
        </a:defRPr>
      </a:lvl2pPr>
      <a:lvl3pPr marL="828000" indent="-126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1800" kern="1200" dirty="0" smtClean="0">
          <a:solidFill>
            <a:srgbClr val="1F4A60"/>
          </a:solidFill>
          <a:latin typeface="+mn-lt"/>
          <a:ea typeface="+mn-ea"/>
          <a:cs typeface="+mn-cs"/>
        </a:defRPr>
      </a:lvl3pPr>
      <a:lvl4pPr marL="1188000" indent="-108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1600" kern="1200" dirty="0" smtClean="0">
          <a:solidFill>
            <a:srgbClr val="1F4A60"/>
          </a:solidFill>
          <a:latin typeface="+mn-lt"/>
          <a:ea typeface="+mn-ea"/>
          <a:cs typeface="+mn-cs"/>
        </a:defRPr>
      </a:lvl4pPr>
      <a:lvl5pPr marL="1548000" indent="-108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1400" kern="1200" dirty="0" smtClean="0">
          <a:solidFill>
            <a:srgbClr val="1F4A60"/>
          </a:solidFill>
          <a:latin typeface="+mn-lt"/>
          <a:ea typeface="+mn-ea"/>
          <a:cs typeface="+mn-cs"/>
        </a:defRPr>
      </a:lvl5pPr>
      <a:lvl6pPr marL="190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7D7D7D"/>
        </a:buClr>
        <a:buFont typeface="Arial" panose="020B0604020202020204" pitchFamily="34" charset="0"/>
        <a:buChar char="•"/>
        <a:defRPr lang="da-DK" sz="1200" kern="1200" baseline="0" dirty="0">
          <a:solidFill>
            <a:srgbClr val="1F4A60"/>
          </a:solidFill>
          <a:latin typeface="+mn-lt"/>
          <a:ea typeface="+mn-ea"/>
          <a:cs typeface="+mn-cs"/>
        </a:defRPr>
      </a:lvl6pPr>
      <a:lvl7pPr marL="226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7D7D7D"/>
        </a:buClr>
        <a:buFont typeface="Arial" panose="020B0604020202020204" pitchFamily="34" charset="0"/>
        <a:buChar char="•"/>
        <a:defRPr lang="da-DK" sz="1100" kern="1200" baseline="0" dirty="0">
          <a:solidFill>
            <a:srgbClr val="1F4A60"/>
          </a:solidFill>
          <a:latin typeface="+mn-lt"/>
          <a:ea typeface="+mn-ea"/>
          <a:cs typeface="+mn-cs"/>
        </a:defRPr>
      </a:lvl7pPr>
      <a:lvl8pPr marL="262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7D7D7D"/>
        </a:buClr>
        <a:buFont typeface="Arial" panose="020B0604020202020204" pitchFamily="34" charset="0"/>
        <a:buChar char="•"/>
        <a:defRPr lang="da-DK" sz="1000" kern="1200" baseline="0" dirty="0">
          <a:solidFill>
            <a:srgbClr val="1F4A60"/>
          </a:solidFill>
          <a:latin typeface="+mn-lt"/>
          <a:ea typeface="+mn-ea"/>
          <a:cs typeface="+mn-cs"/>
        </a:defRPr>
      </a:lvl8pPr>
      <a:lvl9pPr marL="298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808080"/>
        </a:buClr>
        <a:buFont typeface="Arial" panose="020B0604020202020204" pitchFamily="34" charset="0"/>
        <a:buChar char="•"/>
        <a:defRPr sz="900" kern="1200">
          <a:solidFill>
            <a:srgbClr val="1F4A60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1071" userDrawn="1">
          <p15:clr>
            <a:srgbClr val="F26B43"/>
          </p15:clr>
        </p15:guide>
        <p15:guide id="6" orient="horz" pos="1253" userDrawn="1">
          <p15:clr>
            <a:srgbClr val="F26B43"/>
          </p15:clr>
        </p15:guide>
        <p15:guide id="7" orient="horz" pos="3455" userDrawn="1">
          <p15:clr>
            <a:srgbClr val="F26B43"/>
          </p15:clr>
        </p15:guide>
        <p15:guide id="10" pos="861" userDrawn="1">
          <p15:clr>
            <a:srgbClr val="F26B43"/>
          </p15:clr>
        </p15:guide>
        <p15:guide id="11" pos="7247" userDrawn="1">
          <p15:clr>
            <a:srgbClr val="F26B43"/>
          </p15:clr>
        </p15:guide>
        <p15:guide id="12" pos="3963" userDrawn="1">
          <p15:clr>
            <a:srgbClr val="F26B43"/>
          </p15:clr>
        </p15:guide>
        <p15:guide id="13" pos="4145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1366837" y="872078"/>
            <a:ext cx="10137776" cy="82691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-DK" dirty="0"/>
              <a:t>Overskrift 28pt i max. to linjer </a:t>
            </a:r>
            <a:br>
              <a:rPr lang="da-DK" dirty="0"/>
            </a:br>
            <a:r>
              <a:rPr lang="da-DK" dirty="0"/>
              <a:t>teksten vokser opad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1366837" y="1993525"/>
            <a:ext cx="10137776" cy="34912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Brødtekst 22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504613" y="6288074"/>
            <a:ext cx="687386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lang="da-DK" sz="9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Footer" hidden="1"/>
          <p:cNvSpPr>
            <a:spLocks noGrp="1"/>
          </p:cNvSpPr>
          <p:nvPr>
            <p:ph type="ftr" sz="quarter" idx="3"/>
          </p:nvPr>
        </p:nvSpPr>
        <p:spPr>
          <a:xfrm>
            <a:off x="0" y="68472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da-DK" sz="100" kern="1200" dirty="0">
                <a:noFill/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4" name="Dato" hidden="1"/>
          <p:cNvSpPr>
            <a:spLocks noGrp="1"/>
          </p:cNvSpPr>
          <p:nvPr>
            <p:ph type="dt" sz="half" idx="2"/>
          </p:nvPr>
        </p:nvSpPr>
        <p:spPr>
          <a:xfrm>
            <a:off x="0" y="68472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">
                <a:noFill/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57391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rgbClr val="1F4A60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sz="2200" kern="1200" baseline="0">
          <a:solidFill>
            <a:srgbClr val="1F4A60"/>
          </a:solidFill>
          <a:latin typeface="+mn-lt"/>
          <a:ea typeface="+mn-ea"/>
          <a:cs typeface="+mn-cs"/>
        </a:defRPr>
      </a:lvl1pPr>
      <a:lvl2pPr marL="504000" indent="-144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2000" kern="1200" baseline="0" dirty="0" smtClean="0">
          <a:solidFill>
            <a:srgbClr val="1F4A60"/>
          </a:solidFill>
          <a:latin typeface="+mn-lt"/>
          <a:ea typeface="+mn-ea"/>
          <a:cs typeface="+mn-cs"/>
        </a:defRPr>
      </a:lvl2pPr>
      <a:lvl3pPr marL="828000" indent="-126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1800" kern="1200" dirty="0" smtClean="0">
          <a:solidFill>
            <a:srgbClr val="1F4A60"/>
          </a:solidFill>
          <a:latin typeface="+mn-lt"/>
          <a:ea typeface="+mn-ea"/>
          <a:cs typeface="+mn-cs"/>
        </a:defRPr>
      </a:lvl3pPr>
      <a:lvl4pPr marL="1188000" indent="-108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1600" kern="1200" dirty="0" smtClean="0">
          <a:solidFill>
            <a:srgbClr val="1F4A60"/>
          </a:solidFill>
          <a:latin typeface="+mn-lt"/>
          <a:ea typeface="+mn-ea"/>
          <a:cs typeface="+mn-cs"/>
        </a:defRPr>
      </a:lvl4pPr>
      <a:lvl5pPr marL="1548000" indent="-108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1400" kern="1200" dirty="0" smtClean="0">
          <a:solidFill>
            <a:srgbClr val="1F4A60"/>
          </a:solidFill>
          <a:latin typeface="+mn-lt"/>
          <a:ea typeface="+mn-ea"/>
          <a:cs typeface="+mn-cs"/>
        </a:defRPr>
      </a:lvl5pPr>
      <a:lvl6pPr marL="190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7D7D7D"/>
        </a:buClr>
        <a:buFont typeface="Arial" panose="020B0604020202020204" pitchFamily="34" charset="0"/>
        <a:buChar char="•"/>
        <a:defRPr lang="da-DK" sz="1200" kern="1200" baseline="0" dirty="0">
          <a:solidFill>
            <a:srgbClr val="1F4A60"/>
          </a:solidFill>
          <a:latin typeface="+mn-lt"/>
          <a:ea typeface="+mn-ea"/>
          <a:cs typeface="+mn-cs"/>
        </a:defRPr>
      </a:lvl6pPr>
      <a:lvl7pPr marL="226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7D7D7D"/>
        </a:buClr>
        <a:buFont typeface="Arial" panose="020B0604020202020204" pitchFamily="34" charset="0"/>
        <a:buChar char="•"/>
        <a:defRPr lang="da-DK" sz="1100" kern="1200" baseline="0" dirty="0">
          <a:solidFill>
            <a:srgbClr val="1F4A60"/>
          </a:solidFill>
          <a:latin typeface="+mn-lt"/>
          <a:ea typeface="+mn-ea"/>
          <a:cs typeface="+mn-cs"/>
        </a:defRPr>
      </a:lvl7pPr>
      <a:lvl8pPr marL="262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7D7D7D"/>
        </a:buClr>
        <a:buFont typeface="Arial" panose="020B0604020202020204" pitchFamily="34" charset="0"/>
        <a:buChar char="•"/>
        <a:defRPr lang="da-DK" sz="1000" kern="1200" baseline="0" dirty="0">
          <a:solidFill>
            <a:srgbClr val="1F4A60"/>
          </a:solidFill>
          <a:latin typeface="+mn-lt"/>
          <a:ea typeface="+mn-ea"/>
          <a:cs typeface="+mn-cs"/>
        </a:defRPr>
      </a:lvl8pPr>
      <a:lvl9pPr marL="298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808080"/>
        </a:buClr>
        <a:buFont typeface="Arial" panose="020B0604020202020204" pitchFamily="34" charset="0"/>
        <a:buChar char="•"/>
        <a:defRPr sz="900" kern="1200">
          <a:solidFill>
            <a:srgbClr val="1F4A60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1071">
          <p15:clr>
            <a:srgbClr val="F26B43"/>
          </p15:clr>
        </p15:guide>
        <p15:guide id="6" orient="horz" pos="1253">
          <p15:clr>
            <a:srgbClr val="F26B43"/>
          </p15:clr>
        </p15:guide>
        <p15:guide id="7" orient="horz" pos="3455">
          <p15:clr>
            <a:srgbClr val="F26B43"/>
          </p15:clr>
        </p15:guide>
        <p15:guide id="10" pos="861">
          <p15:clr>
            <a:srgbClr val="F26B43"/>
          </p15:clr>
        </p15:guide>
        <p15:guide id="11" pos="7247">
          <p15:clr>
            <a:srgbClr val="F26B43"/>
          </p15:clr>
        </p15:guide>
        <p15:guide id="12" pos="3963">
          <p15:clr>
            <a:srgbClr val="F26B43"/>
          </p15:clr>
        </p15:guide>
        <p15:guide id="13" pos="4145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1366837" y="872078"/>
            <a:ext cx="10137776" cy="82691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-DK" dirty="0"/>
              <a:t>Overskrift 28pt i max. to linjer </a:t>
            </a:r>
            <a:br>
              <a:rPr lang="da-DK" dirty="0"/>
            </a:br>
            <a:r>
              <a:rPr lang="da-DK" dirty="0"/>
              <a:t>teksten vokser opad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1366837" y="1993525"/>
            <a:ext cx="10137776" cy="34912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Brødtekst 22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504613" y="6288074"/>
            <a:ext cx="687386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lang="da-DK" sz="9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Footer" hidden="1"/>
          <p:cNvSpPr>
            <a:spLocks noGrp="1"/>
          </p:cNvSpPr>
          <p:nvPr>
            <p:ph type="ftr" sz="quarter" idx="3"/>
          </p:nvPr>
        </p:nvSpPr>
        <p:spPr>
          <a:xfrm>
            <a:off x="0" y="68472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da-DK" sz="100" kern="1200" dirty="0">
                <a:noFill/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4" name="Dato" hidden="1"/>
          <p:cNvSpPr>
            <a:spLocks noGrp="1"/>
          </p:cNvSpPr>
          <p:nvPr>
            <p:ph type="dt" sz="half" idx="2"/>
          </p:nvPr>
        </p:nvSpPr>
        <p:spPr>
          <a:xfrm>
            <a:off x="0" y="68472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">
                <a:noFill/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36271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  <p:sldLayoutId id="2147483875" r:id="rId6"/>
    <p:sldLayoutId id="2147483876" r:id="rId7"/>
    <p:sldLayoutId id="2147483877" r:id="rId8"/>
    <p:sldLayoutId id="2147483878" r:id="rId9"/>
    <p:sldLayoutId id="2147483879" r:id="rId10"/>
    <p:sldLayoutId id="2147483880" r:id="rId11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rgbClr val="1F4A60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sz="2200" kern="1200" baseline="0">
          <a:solidFill>
            <a:srgbClr val="1F4A60"/>
          </a:solidFill>
          <a:latin typeface="+mn-lt"/>
          <a:ea typeface="+mn-ea"/>
          <a:cs typeface="+mn-cs"/>
        </a:defRPr>
      </a:lvl1pPr>
      <a:lvl2pPr marL="504000" indent="-144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2000" kern="1200" baseline="0" dirty="0" smtClean="0">
          <a:solidFill>
            <a:srgbClr val="1F4A60"/>
          </a:solidFill>
          <a:latin typeface="+mn-lt"/>
          <a:ea typeface="+mn-ea"/>
          <a:cs typeface="+mn-cs"/>
        </a:defRPr>
      </a:lvl2pPr>
      <a:lvl3pPr marL="828000" indent="-126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1800" kern="1200" dirty="0" smtClean="0">
          <a:solidFill>
            <a:srgbClr val="1F4A60"/>
          </a:solidFill>
          <a:latin typeface="+mn-lt"/>
          <a:ea typeface="+mn-ea"/>
          <a:cs typeface="+mn-cs"/>
        </a:defRPr>
      </a:lvl3pPr>
      <a:lvl4pPr marL="1188000" indent="-108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1600" kern="1200" dirty="0" smtClean="0">
          <a:solidFill>
            <a:srgbClr val="1F4A60"/>
          </a:solidFill>
          <a:latin typeface="+mn-lt"/>
          <a:ea typeface="+mn-ea"/>
          <a:cs typeface="+mn-cs"/>
        </a:defRPr>
      </a:lvl4pPr>
      <a:lvl5pPr marL="1548000" indent="-108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1400" kern="1200" dirty="0" smtClean="0">
          <a:solidFill>
            <a:srgbClr val="1F4A60"/>
          </a:solidFill>
          <a:latin typeface="+mn-lt"/>
          <a:ea typeface="+mn-ea"/>
          <a:cs typeface="+mn-cs"/>
        </a:defRPr>
      </a:lvl5pPr>
      <a:lvl6pPr marL="190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7D7D7D"/>
        </a:buClr>
        <a:buFont typeface="Arial" panose="020B0604020202020204" pitchFamily="34" charset="0"/>
        <a:buChar char="•"/>
        <a:defRPr lang="da-DK" sz="1200" kern="1200" baseline="0" dirty="0">
          <a:solidFill>
            <a:srgbClr val="1F4A60"/>
          </a:solidFill>
          <a:latin typeface="+mn-lt"/>
          <a:ea typeface="+mn-ea"/>
          <a:cs typeface="+mn-cs"/>
        </a:defRPr>
      </a:lvl6pPr>
      <a:lvl7pPr marL="226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7D7D7D"/>
        </a:buClr>
        <a:buFont typeface="Arial" panose="020B0604020202020204" pitchFamily="34" charset="0"/>
        <a:buChar char="•"/>
        <a:defRPr lang="da-DK" sz="1100" kern="1200" baseline="0" dirty="0">
          <a:solidFill>
            <a:srgbClr val="1F4A60"/>
          </a:solidFill>
          <a:latin typeface="+mn-lt"/>
          <a:ea typeface="+mn-ea"/>
          <a:cs typeface="+mn-cs"/>
        </a:defRPr>
      </a:lvl7pPr>
      <a:lvl8pPr marL="262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7D7D7D"/>
        </a:buClr>
        <a:buFont typeface="Arial" panose="020B0604020202020204" pitchFamily="34" charset="0"/>
        <a:buChar char="•"/>
        <a:defRPr lang="da-DK" sz="1000" kern="1200" baseline="0" dirty="0">
          <a:solidFill>
            <a:srgbClr val="1F4A60"/>
          </a:solidFill>
          <a:latin typeface="+mn-lt"/>
          <a:ea typeface="+mn-ea"/>
          <a:cs typeface="+mn-cs"/>
        </a:defRPr>
      </a:lvl8pPr>
      <a:lvl9pPr marL="298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808080"/>
        </a:buClr>
        <a:buFont typeface="Arial" panose="020B0604020202020204" pitchFamily="34" charset="0"/>
        <a:buChar char="•"/>
        <a:defRPr sz="900" kern="1200">
          <a:solidFill>
            <a:srgbClr val="1F4A60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1071">
          <p15:clr>
            <a:srgbClr val="F26B43"/>
          </p15:clr>
        </p15:guide>
        <p15:guide id="6" orient="horz" pos="1253">
          <p15:clr>
            <a:srgbClr val="F26B43"/>
          </p15:clr>
        </p15:guide>
        <p15:guide id="7" orient="horz" pos="3455">
          <p15:clr>
            <a:srgbClr val="F26B43"/>
          </p15:clr>
        </p15:guide>
        <p15:guide id="10" pos="861">
          <p15:clr>
            <a:srgbClr val="F26B43"/>
          </p15:clr>
        </p15:guide>
        <p15:guide id="11" pos="7247">
          <p15:clr>
            <a:srgbClr val="F26B43"/>
          </p15:clr>
        </p15:guide>
        <p15:guide id="12" pos="3963">
          <p15:clr>
            <a:srgbClr val="F26B43"/>
          </p15:clr>
        </p15:guide>
        <p15:guide id="13" pos="4145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Billed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15"/>
          <p:cNvSpPr txBox="1">
            <a:spLocks noChangeArrowheads="1"/>
          </p:cNvSpPr>
          <p:nvPr/>
        </p:nvSpPr>
        <p:spPr>
          <a:xfrm>
            <a:off x="11777134" y="3068638"/>
            <a:ext cx="751417" cy="476250"/>
          </a:xfrm>
          <a:prstGeom prst="rect">
            <a:avLst/>
          </a:prstGeom>
          <a:ln/>
        </p:spPr>
        <p:txBody>
          <a:bodyPr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CEA97ABA-0FE6-4B97-9BB5-7170E879E9AE}" type="slidenum">
              <a:rPr lang="da-DK" altLang="da-DK" sz="1200" smtClean="0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a-DK" altLang="da-DK" sz="1200" dirty="0"/>
          </a:p>
        </p:txBody>
      </p:sp>
    </p:spTree>
    <p:extLst>
      <p:ext uri="{BB962C8B-B14F-4D97-AF65-F5344CB8AC3E}">
        <p14:creationId xmlns:p14="http://schemas.microsoft.com/office/powerpoint/2010/main" val="3759182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885" r:id="rId4"/>
    <p:sldLayoutId id="2147483886" r:id="rId5"/>
    <p:sldLayoutId id="2147483887" r:id="rId6"/>
    <p:sldLayoutId id="2147483888" r:id="rId7"/>
    <p:sldLayoutId id="2147483889" r:id="rId8"/>
    <p:sldLayoutId id="2147483890" r:id="rId9"/>
    <p:sldLayoutId id="2147483891" r:id="rId10"/>
    <p:sldLayoutId id="2147483892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1366837" y="872078"/>
            <a:ext cx="10137776" cy="82691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-DK" dirty="0"/>
              <a:t>Overskrift 28pt i max. to linjer </a:t>
            </a:r>
            <a:br>
              <a:rPr lang="da-DK" dirty="0"/>
            </a:br>
            <a:r>
              <a:rPr lang="da-DK" dirty="0"/>
              <a:t>teksten vokser opad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1366837" y="1993525"/>
            <a:ext cx="10137776" cy="34912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Brødtekst 22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504613" y="6288074"/>
            <a:ext cx="687386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lang="da-DK" sz="9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Footer" hidden="1"/>
          <p:cNvSpPr>
            <a:spLocks noGrp="1"/>
          </p:cNvSpPr>
          <p:nvPr>
            <p:ph type="ftr" sz="quarter" idx="3"/>
          </p:nvPr>
        </p:nvSpPr>
        <p:spPr>
          <a:xfrm>
            <a:off x="0" y="68472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da-DK" sz="100" kern="1200" dirty="0">
                <a:noFill/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4" name="Dato" hidden="1"/>
          <p:cNvSpPr>
            <a:spLocks noGrp="1"/>
          </p:cNvSpPr>
          <p:nvPr>
            <p:ph type="dt" sz="half" idx="2"/>
          </p:nvPr>
        </p:nvSpPr>
        <p:spPr>
          <a:xfrm>
            <a:off x="0" y="68472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">
                <a:noFill/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09906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  <p:sldLayoutId id="2147483897" r:id="rId4"/>
    <p:sldLayoutId id="2147483898" r:id="rId5"/>
    <p:sldLayoutId id="2147483899" r:id="rId6"/>
    <p:sldLayoutId id="2147483900" r:id="rId7"/>
    <p:sldLayoutId id="2147483901" r:id="rId8"/>
    <p:sldLayoutId id="2147483902" r:id="rId9"/>
    <p:sldLayoutId id="2147483903" r:id="rId10"/>
    <p:sldLayoutId id="2147483904" r:id="rId11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rgbClr val="1F4A60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sz="2200" kern="1200" baseline="0">
          <a:solidFill>
            <a:srgbClr val="1F4A60"/>
          </a:solidFill>
          <a:latin typeface="+mn-lt"/>
          <a:ea typeface="+mn-ea"/>
          <a:cs typeface="+mn-cs"/>
        </a:defRPr>
      </a:lvl1pPr>
      <a:lvl2pPr marL="504000" indent="-144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2000" kern="1200" baseline="0" dirty="0" smtClean="0">
          <a:solidFill>
            <a:srgbClr val="1F4A60"/>
          </a:solidFill>
          <a:latin typeface="+mn-lt"/>
          <a:ea typeface="+mn-ea"/>
          <a:cs typeface="+mn-cs"/>
        </a:defRPr>
      </a:lvl2pPr>
      <a:lvl3pPr marL="828000" indent="-126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1800" kern="1200" dirty="0" smtClean="0">
          <a:solidFill>
            <a:srgbClr val="1F4A60"/>
          </a:solidFill>
          <a:latin typeface="+mn-lt"/>
          <a:ea typeface="+mn-ea"/>
          <a:cs typeface="+mn-cs"/>
        </a:defRPr>
      </a:lvl3pPr>
      <a:lvl4pPr marL="1188000" indent="-108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1600" kern="1200" dirty="0" smtClean="0">
          <a:solidFill>
            <a:srgbClr val="1F4A60"/>
          </a:solidFill>
          <a:latin typeface="+mn-lt"/>
          <a:ea typeface="+mn-ea"/>
          <a:cs typeface="+mn-cs"/>
        </a:defRPr>
      </a:lvl4pPr>
      <a:lvl5pPr marL="1548000" indent="-108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1400" kern="1200" dirty="0" smtClean="0">
          <a:solidFill>
            <a:srgbClr val="1F4A60"/>
          </a:solidFill>
          <a:latin typeface="+mn-lt"/>
          <a:ea typeface="+mn-ea"/>
          <a:cs typeface="+mn-cs"/>
        </a:defRPr>
      </a:lvl5pPr>
      <a:lvl6pPr marL="190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7D7D7D"/>
        </a:buClr>
        <a:buFont typeface="Arial" panose="020B0604020202020204" pitchFamily="34" charset="0"/>
        <a:buChar char="•"/>
        <a:defRPr lang="da-DK" sz="1200" kern="1200" baseline="0" dirty="0">
          <a:solidFill>
            <a:srgbClr val="1F4A60"/>
          </a:solidFill>
          <a:latin typeface="+mn-lt"/>
          <a:ea typeface="+mn-ea"/>
          <a:cs typeface="+mn-cs"/>
        </a:defRPr>
      </a:lvl6pPr>
      <a:lvl7pPr marL="226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7D7D7D"/>
        </a:buClr>
        <a:buFont typeface="Arial" panose="020B0604020202020204" pitchFamily="34" charset="0"/>
        <a:buChar char="•"/>
        <a:defRPr lang="da-DK" sz="1100" kern="1200" baseline="0" dirty="0">
          <a:solidFill>
            <a:srgbClr val="1F4A60"/>
          </a:solidFill>
          <a:latin typeface="+mn-lt"/>
          <a:ea typeface="+mn-ea"/>
          <a:cs typeface="+mn-cs"/>
        </a:defRPr>
      </a:lvl7pPr>
      <a:lvl8pPr marL="262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7D7D7D"/>
        </a:buClr>
        <a:buFont typeface="Arial" panose="020B0604020202020204" pitchFamily="34" charset="0"/>
        <a:buChar char="•"/>
        <a:defRPr lang="da-DK" sz="1000" kern="1200" baseline="0" dirty="0">
          <a:solidFill>
            <a:srgbClr val="1F4A60"/>
          </a:solidFill>
          <a:latin typeface="+mn-lt"/>
          <a:ea typeface="+mn-ea"/>
          <a:cs typeface="+mn-cs"/>
        </a:defRPr>
      </a:lvl8pPr>
      <a:lvl9pPr marL="298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808080"/>
        </a:buClr>
        <a:buFont typeface="Arial" panose="020B0604020202020204" pitchFamily="34" charset="0"/>
        <a:buChar char="•"/>
        <a:defRPr sz="900" kern="1200">
          <a:solidFill>
            <a:srgbClr val="1F4A60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1071">
          <p15:clr>
            <a:srgbClr val="F26B43"/>
          </p15:clr>
        </p15:guide>
        <p15:guide id="6" orient="horz" pos="1253">
          <p15:clr>
            <a:srgbClr val="F26B43"/>
          </p15:clr>
        </p15:guide>
        <p15:guide id="7" orient="horz" pos="3455">
          <p15:clr>
            <a:srgbClr val="F26B43"/>
          </p15:clr>
        </p15:guide>
        <p15:guide id="10" pos="861">
          <p15:clr>
            <a:srgbClr val="F26B43"/>
          </p15:clr>
        </p15:guide>
        <p15:guide id="11" pos="7247">
          <p15:clr>
            <a:srgbClr val="F26B43"/>
          </p15:clr>
        </p15:guide>
        <p15:guide id="12" pos="3963">
          <p15:clr>
            <a:srgbClr val="F26B43"/>
          </p15:clr>
        </p15:guide>
        <p15:guide id="13" pos="414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Placeholder title 1"/>
          <p:cNvSpPr>
            <a:spLocks noGrp="1" noChangeArrowheads="1"/>
          </p:cNvSpPr>
          <p:nvPr>
            <p:ph type="title"/>
          </p:nvPr>
        </p:nvSpPr>
        <p:spPr bwMode="auto">
          <a:xfrm>
            <a:off x="315996" y="149115"/>
            <a:ext cx="11560010" cy="1309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  <a:endParaRPr lang="en-GB"/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86100" y="1960079"/>
            <a:ext cx="10222987" cy="39374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 level</a:t>
            </a:r>
            <a:endParaRPr lang="en-GB"/>
          </a:p>
          <a:p>
            <a:pPr lvl="6"/>
            <a:r>
              <a:rPr lang="en-GB" noProof="0" dirty="0"/>
              <a:t>7 level</a:t>
            </a:r>
            <a:endParaRPr lang="en-GB"/>
          </a:p>
          <a:p>
            <a:pPr lvl="7"/>
            <a:r>
              <a:rPr lang="en-GB" noProof="0" dirty="0"/>
              <a:t>8 level</a:t>
            </a:r>
            <a:endParaRPr lang="en-GB"/>
          </a:p>
          <a:p>
            <a:pPr lvl="8"/>
            <a:r>
              <a:rPr lang="en-GB" noProof="0" dirty="0"/>
              <a:t>9 level</a:t>
            </a:r>
            <a:endParaRPr lang="en-GB"/>
          </a:p>
        </p:txBody>
      </p:sp>
      <p:sp>
        <p:nvSpPr>
          <p:cNvPr id="23" name="Black Rectangle"/>
          <p:cNvSpPr/>
          <p:nvPr userDrawn="1"/>
        </p:nvSpPr>
        <p:spPr>
          <a:xfrm>
            <a:off x="989703" y="1663090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91" dirty="0"/>
          </a:p>
          <a:p>
            <a:pPr algn="ctr"/>
            <a:endParaRPr lang="en-GB" sz="4791" dirty="0"/>
          </a:p>
        </p:txBody>
      </p:sp>
      <p:pic>
        <p:nvPicPr>
          <p:cNvPr id="10" name="Billede streg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4782" y="5997601"/>
            <a:ext cx="71753" cy="558603"/>
          </a:xfrm>
          <a:prstGeom prst="rect">
            <a:avLst/>
          </a:prstGeom>
        </p:spPr>
      </p:pic>
      <p:sp>
        <p:nvSpPr>
          <p:cNvPr id="25" name="OFF_logo2Computed"/>
          <p:cNvSpPr txBox="1">
            <a:spLocks noChangeArrowheads="1"/>
          </p:cNvSpPr>
          <p:nvPr userDrawn="1"/>
        </p:nvSpPr>
        <p:spPr bwMode="auto">
          <a:xfrm>
            <a:off x="972259" y="5997600"/>
            <a:ext cx="2350657" cy="447724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68932" rIns="0" bIns="0">
            <a:spAutoFit/>
          </a:bodyPr>
          <a:lstStyle/>
          <a:p>
            <a:pPr>
              <a:lnSpc>
                <a:spcPct val="100000"/>
              </a:lnSpc>
              <a:defRPr/>
            </a:pPr>
            <a:endParaRPr lang="en-GB" sz="898" cap="all" spc="40" baseline="0" dirty="0">
              <a:solidFill>
                <a:schemeClr val="tx1"/>
              </a:solidFill>
              <a:latin typeface="+mn-lt"/>
            </a:endParaRPr>
          </a:p>
          <a:p>
            <a:pPr>
              <a:lnSpc>
                <a:spcPct val="100000"/>
              </a:lnSpc>
              <a:defRPr/>
            </a:pPr>
            <a:endParaRPr lang="en-GB" sz="898" cap="all" spc="40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30" name="Sidetal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811076" y="6580799"/>
            <a:ext cx="252066" cy="154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ts val="1198"/>
              </a:lnSpc>
              <a:buFontTx/>
              <a:buNone/>
              <a:defRPr sz="699" spc="40" baseline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2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3">
                <a:noFill/>
              </a:defRPr>
            </a:lvl1pPr>
          </a:lstStyle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3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C1BFD7FE-F9E8-604C-ABA2-914876E38EC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584362" y="5890630"/>
            <a:ext cx="2272432" cy="655278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474444" rIns="0" bIns="0" anchor="t" anchorCtr="0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GB" sz="1198" b="0" cap="all" baseline="0" dirty="0">
                <a:solidFill>
                  <a:schemeClr val="tx1"/>
                </a:solidFill>
                <a:latin typeface="+mn-lt"/>
              </a:rPr>
              <a:t>Lotte Bøgh Andersen</a:t>
            </a:r>
          </a:p>
        </p:txBody>
      </p:sp>
      <p:sp>
        <p:nvSpPr>
          <p:cNvPr id="20" name="FLD_Event">
            <a:extLst>
              <a:ext uri="{FF2B5EF4-FFF2-40B4-BE49-F238E27FC236}">
                <a16:creationId xmlns:a16="http://schemas.microsoft.com/office/drawing/2014/main" id="{B8FDBE42-267F-0C46-921E-FA84BB612A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92294" y="6029980"/>
            <a:ext cx="2272432" cy="520778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341457" rIns="0" bIns="0" anchor="t" anchorCtr="0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GB" sz="1198" b="0" kern="1200" cap="all" baseline="0" dirty="0">
                <a:solidFill>
                  <a:schemeClr val="tx1"/>
                </a:solidFill>
                <a:latin typeface="AU Passata" pitchFamily="34" charset="0"/>
                <a:ea typeface="+mn-ea"/>
                <a:cs typeface="+mn-cs"/>
              </a:rPr>
              <a:t>@</a:t>
            </a:r>
            <a:r>
              <a:rPr lang="en-GB" sz="1198" b="0" kern="1200" cap="all" baseline="0" dirty="0" err="1">
                <a:solidFill>
                  <a:schemeClr val="tx1"/>
                </a:solidFill>
                <a:latin typeface="AU Passata" pitchFamily="34" charset="0"/>
                <a:ea typeface="+mn-ea"/>
                <a:cs typeface="+mn-cs"/>
              </a:rPr>
              <a:t>ledelsescenter</a:t>
            </a:r>
            <a:endParaRPr lang="en-GB" sz="1198" b="0" kern="1200" cap="all" baseline="0" dirty="0">
              <a:solidFill>
                <a:schemeClr val="tx1"/>
              </a:solidFill>
              <a:latin typeface="AU Passata" pitchFamily="34" charset="0"/>
              <a:ea typeface="+mn-ea"/>
              <a:cs typeface="+mn-cs"/>
            </a:endParaRPr>
          </a:p>
        </p:txBody>
      </p:sp>
      <p:sp>
        <p:nvSpPr>
          <p:cNvPr id="24" name="OFF_logo1Computed">
            <a:extLst>
              <a:ext uri="{FF2B5EF4-FFF2-40B4-BE49-F238E27FC236}">
                <a16:creationId xmlns:a16="http://schemas.microsoft.com/office/drawing/2014/main" id="{460550A4-1BD9-7A4B-82D9-12C2CAA0609D}"/>
              </a:ext>
            </a:extLst>
          </p:cNvPr>
          <p:cNvSpPr/>
          <p:nvPr userDrawn="1"/>
        </p:nvSpPr>
        <p:spPr bwMode="auto">
          <a:xfrm>
            <a:off x="972255" y="6007004"/>
            <a:ext cx="2180652" cy="590092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35942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30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8" b="1" i="0" u="none" strike="noStrike" cap="all" normalizeH="0" baseline="0" noProof="1">
              <a:ln>
                <a:noFill/>
              </a:ln>
              <a:solidFill>
                <a:schemeClr val="tx1"/>
              </a:solidFill>
              <a:effectLst/>
              <a:latin typeface="AU Passata" pitchFamily="34" charset="0"/>
            </a:endParaRPr>
          </a:p>
          <a:p>
            <a:pPr marL="0" marR="0" indent="0" algn="l" defTabSz="9130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8" b="1" i="0" u="none" strike="noStrike" cap="all" normalizeH="0" baseline="0" noProof="1">
              <a:ln>
                <a:noFill/>
              </a:ln>
              <a:solidFill>
                <a:schemeClr val="tx1"/>
              </a:solidFill>
              <a:effectLst/>
              <a:latin typeface="AU Passata" pitchFamily="34" charset="0"/>
            </a:endParaRPr>
          </a:p>
          <a:p>
            <a:pPr marL="0" marR="0" indent="0" algn="l" defTabSz="9130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8" b="1" i="0" u="none" strike="noStrike" cap="all" normalizeH="0" baseline="0" noProof="1">
                <a:ln>
                  <a:noFill/>
                </a:ln>
                <a:solidFill>
                  <a:schemeClr val="tx1"/>
                </a:solidFill>
                <a:effectLst/>
                <a:latin typeface="AU Passata" pitchFamily="34" charset="0"/>
              </a:rPr>
              <a:t>DEPARTMENT OF POLITICAL SCIENCE</a:t>
            </a:r>
          </a:p>
          <a:p>
            <a:pPr marL="0" marR="0" indent="0" algn="l" defTabSz="9130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8" b="0" i="0" u="none" strike="noStrike" cap="all" normalizeH="0" baseline="0" noProof="1">
                <a:ln>
                  <a:noFill/>
                </a:ln>
                <a:solidFill>
                  <a:schemeClr val="tx1"/>
                </a:solidFill>
                <a:effectLst/>
                <a:latin typeface="AU Passata" pitchFamily="34" charset="0"/>
              </a:rPr>
              <a:t>AARHUS UNIVERSITY</a:t>
            </a:r>
          </a:p>
        </p:txBody>
      </p:sp>
      <p:pic>
        <p:nvPicPr>
          <p:cNvPr id="31" name="Billede 30">
            <a:extLst>
              <a:ext uri="{FF2B5EF4-FFF2-40B4-BE49-F238E27FC236}">
                <a16:creationId xmlns:a16="http://schemas.microsoft.com/office/drawing/2014/main" id="{4A3EA3D7-6180-C644-A353-4BB2C8445D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609"/>
          <a:stretch/>
        </p:blipFill>
        <p:spPr>
          <a:xfrm>
            <a:off x="292049" y="5986691"/>
            <a:ext cx="632226" cy="616062"/>
          </a:xfrm>
          <a:prstGeom prst="rect">
            <a:avLst/>
          </a:prstGeom>
        </p:spPr>
      </p:pic>
      <p:pic>
        <p:nvPicPr>
          <p:cNvPr id="21" name="Billede 20">
            <a:extLst>
              <a:ext uri="{FF2B5EF4-FFF2-40B4-BE49-F238E27FC236}">
                <a16:creationId xmlns:a16="http://schemas.microsoft.com/office/drawing/2014/main" id="{E341CFEB-A5E4-A34B-92E7-55D9D3FF44AB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2869" y="6184902"/>
            <a:ext cx="2804143" cy="504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412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4" r:id="rId21"/>
  </p:sldLayoutIdLst>
  <p:hf sldNum="0" hdr="0" ftr="0"/>
  <p:txStyles>
    <p:titleStyle>
      <a:lvl1pPr algn="l" rtl="0" eaLnBrk="1" fontAlgn="base" hangingPunct="1">
        <a:lnSpc>
          <a:spcPct val="89000"/>
        </a:lnSpc>
        <a:spcBef>
          <a:spcPct val="0"/>
        </a:spcBef>
        <a:spcAft>
          <a:spcPct val="0"/>
        </a:spcAft>
        <a:defRPr sz="4493" b="1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4">
          <a:solidFill>
            <a:schemeClr val="bg2"/>
          </a:solidFill>
          <a:latin typeface="AU Passata" pitchFamily="34" charset="0"/>
        </a:defRPr>
      </a:lvl2pPr>
      <a:lvl3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4">
          <a:solidFill>
            <a:schemeClr val="bg2"/>
          </a:solidFill>
          <a:latin typeface="AU Passata" pitchFamily="34" charset="0"/>
        </a:defRPr>
      </a:lvl3pPr>
      <a:lvl4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4">
          <a:solidFill>
            <a:schemeClr val="bg2"/>
          </a:solidFill>
          <a:latin typeface="AU Passata" pitchFamily="34" charset="0"/>
        </a:defRPr>
      </a:lvl4pPr>
      <a:lvl5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4">
          <a:solidFill>
            <a:schemeClr val="bg2"/>
          </a:solidFill>
          <a:latin typeface="AU Passata" pitchFamily="34" charset="0"/>
        </a:defRPr>
      </a:lvl5pPr>
      <a:lvl6pPr marL="456513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4">
          <a:solidFill>
            <a:schemeClr val="bg2"/>
          </a:solidFill>
          <a:latin typeface="AU Passata" pitchFamily="34" charset="0"/>
        </a:defRPr>
      </a:lvl6pPr>
      <a:lvl7pPr marL="913027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4">
          <a:solidFill>
            <a:schemeClr val="bg2"/>
          </a:solidFill>
          <a:latin typeface="AU Passata" pitchFamily="34" charset="0"/>
        </a:defRPr>
      </a:lvl7pPr>
      <a:lvl8pPr marL="1369542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4">
          <a:solidFill>
            <a:schemeClr val="bg2"/>
          </a:solidFill>
          <a:latin typeface="AU Passata" pitchFamily="34" charset="0"/>
        </a:defRPr>
      </a:lvl8pPr>
      <a:lvl9pPr marL="1826055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4">
          <a:solidFill>
            <a:schemeClr val="bg2"/>
          </a:solidFill>
          <a:latin typeface="AU Passata" pitchFamily="34" charset="0"/>
        </a:defRPr>
      </a:lvl9pPr>
    </p:titleStyle>
    <p:bodyStyle>
      <a:lvl1pPr marL="0" indent="0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SzPct val="100000"/>
        <a:buFont typeface="Calibri" panose="020F0502020204030204" pitchFamily="34" charset="0"/>
        <a:buChar char="​"/>
        <a:defRPr sz="1997" b="0">
          <a:solidFill>
            <a:schemeClr val="tx1"/>
          </a:solidFill>
          <a:latin typeface="+mn-lt"/>
          <a:ea typeface="+mn-ea"/>
          <a:cs typeface="+mn-cs"/>
        </a:defRPr>
      </a:lvl1pPr>
      <a:lvl2pPr marL="431351" indent="-179730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2pPr>
      <a:lvl3pPr marL="754866" indent="-179730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3pPr>
      <a:lvl4pPr marL="1150270" indent="-179730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4pPr>
      <a:lvl5pPr marL="1509731" indent="-179730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5pPr>
      <a:lvl6pPr marL="1833245" indent="-179730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6pPr>
      <a:lvl7pPr marL="1833245" indent="-179730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7pPr>
      <a:lvl8pPr marL="1833245" indent="-179730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8pPr>
      <a:lvl9pPr marL="1833245" indent="-179730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302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513" algn="l" defTabSz="91302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027" algn="l" defTabSz="91302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69542" algn="l" defTabSz="91302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055" algn="l" defTabSz="91302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2569" algn="l" defTabSz="91302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39083" algn="l" defTabSz="91302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5596" algn="l" defTabSz="91302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2110" algn="l" defTabSz="91302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3708">
          <p15:clr>
            <a:srgbClr val="000000"/>
          </p15:clr>
        </p15:guide>
        <p15:guide id="5" orient="horz" pos="4123">
          <p15:clr>
            <a:srgbClr val="A4A3A4"/>
          </p15:clr>
        </p15:guide>
        <p15:guide id="6" pos="7479">
          <p15:clr>
            <a:srgbClr val="A4A3A4"/>
          </p15:clr>
        </p15:guide>
        <p15:guide id="7" orient="horz" pos="1232">
          <p15:clr>
            <a:srgbClr val="000000"/>
          </p15:clr>
        </p15:guide>
        <p15:guide id="8" pos="7059">
          <p15:clr>
            <a:srgbClr val="000000"/>
          </p15:clr>
        </p15:guide>
        <p15:guide id="9" pos="199">
          <p15:clr>
            <a:srgbClr val="A4A3A4"/>
          </p15:clr>
        </p15:guide>
        <p15:guide id="10" pos="621">
          <p15:clr>
            <a:srgbClr val="000000"/>
          </p15:clr>
        </p15:guide>
        <p15:guide id="11" orient="horz" pos="199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Placeholder title 1"/>
          <p:cNvSpPr>
            <a:spLocks noGrp="1" noChangeArrowheads="1"/>
          </p:cNvSpPr>
          <p:nvPr>
            <p:ph type="title"/>
          </p:nvPr>
        </p:nvSpPr>
        <p:spPr bwMode="auto">
          <a:xfrm>
            <a:off x="315996" y="149115"/>
            <a:ext cx="11560010" cy="1309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  <a:endParaRPr lang="en-GB"/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86098" y="1960079"/>
            <a:ext cx="10222987" cy="39374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 level</a:t>
            </a:r>
            <a:endParaRPr lang="en-GB"/>
          </a:p>
          <a:p>
            <a:pPr lvl="6"/>
            <a:r>
              <a:rPr lang="en-GB" noProof="0" dirty="0"/>
              <a:t>7 level</a:t>
            </a:r>
            <a:endParaRPr lang="en-GB"/>
          </a:p>
          <a:p>
            <a:pPr lvl="7"/>
            <a:r>
              <a:rPr lang="en-GB" noProof="0" dirty="0"/>
              <a:t>8 level</a:t>
            </a:r>
            <a:endParaRPr lang="en-GB"/>
          </a:p>
          <a:p>
            <a:pPr lvl="8"/>
            <a:r>
              <a:rPr lang="en-GB" noProof="0" dirty="0"/>
              <a:t>9 level</a:t>
            </a:r>
            <a:endParaRPr lang="en-GB"/>
          </a:p>
        </p:txBody>
      </p:sp>
      <p:sp>
        <p:nvSpPr>
          <p:cNvPr id="23" name="Black Rectangle"/>
          <p:cNvSpPr/>
          <p:nvPr userDrawn="1"/>
        </p:nvSpPr>
        <p:spPr>
          <a:xfrm>
            <a:off x="989699" y="1663088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82" dirty="0"/>
          </a:p>
          <a:p>
            <a:pPr algn="ctr"/>
            <a:endParaRPr lang="en-GB" sz="4782" dirty="0"/>
          </a:p>
        </p:txBody>
      </p:sp>
      <p:sp>
        <p:nvSpPr>
          <p:cNvPr id="25" name="OFF_logo2Computed"/>
          <p:cNvSpPr txBox="1">
            <a:spLocks noChangeArrowheads="1"/>
          </p:cNvSpPr>
          <p:nvPr userDrawn="1"/>
        </p:nvSpPr>
        <p:spPr bwMode="auto">
          <a:xfrm>
            <a:off x="972257" y="5997600"/>
            <a:ext cx="2350657" cy="445030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68618" rIns="0" bIns="0">
            <a:spAutoFit/>
          </a:bodyPr>
          <a:lstStyle/>
          <a:p>
            <a:pPr>
              <a:lnSpc>
                <a:spcPct val="100000"/>
              </a:lnSpc>
              <a:defRPr/>
            </a:pPr>
            <a:endParaRPr lang="en-GB" sz="896" cap="all" spc="40" baseline="0" dirty="0">
              <a:solidFill>
                <a:schemeClr val="tx1"/>
              </a:solidFill>
              <a:latin typeface="+mn-lt"/>
            </a:endParaRPr>
          </a:p>
          <a:p>
            <a:pPr>
              <a:lnSpc>
                <a:spcPct val="100000"/>
              </a:lnSpc>
              <a:defRPr/>
            </a:pPr>
            <a:endParaRPr lang="en-GB" sz="896" cap="all" spc="40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30" name="Sidetal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811076" y="6580799"/>
            <a:ext cx="252066" cy="154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ts val="1196"/>
              </a:lnSpc>
              <a:buFontTx/>
              <a:buNone/>
              <a:defRPr sz="698" spc="40" baseline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2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/>
              <a:t>08/05/2018</a:t>
            </a:r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3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4" name="OFF_logo1Computed">
            <a:extLst>
              <a:ext uri="{FF2B5EF4-FFF2-40B4-BE49-F238E27FC236}">
                <a16:creationId xmlns:a16="http://schemas.microsoft.com/office/drawing/2014/main" id="{460550A4-1BD9-7A4B-82D9-12C2CAA0609D}"/>
              </a:ext>
            </a:extLst>
          </p:cNvPr>
          <p:cNvSpPr/>
          <p:nvPr userDrawn="1"/>
        </p:nvSpPr>
        <p:spPr bwMode="auto">
          <a:xfrm>
            <a:off x="972254" y="6007006"/>
            <a:ext cx="1866381" cy="588739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35875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1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6" b="1" i="0" u="none" strike="noStrike" cap="all" normalizeH="0" baseline="0" noProof="1">
              <a:ln>
                <a:noFill/>
              </a:ln>
              <a:solidFill>
                <a:schemeClr val="tx1"/>
              </a:solidFill>
              <a:effectLst/>
              <a:latin typeface="AU Passata" pitchFamily="34" charset="0"/>
            </a:endParaRPr>
          </a:p>
          <a:p>
            <a:pPr marL="0" marR="0" indent="0" algn="l" defTabSz="911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6" b="1" i="0" u="none" strike="noStrike" cap="all" normalizeH="0" baseline="0" noProof="1">
              <a:ln>
                <a:noFill/>
              </a:ln>
              <a:solidFill>
                <a:schemeClr val="tx1"/>
              </a:solidFill>
              <a:effectLst/>
              <a:latin typeface="AU Passata" pitchFamily="34" charset="0"/>
            </a:endParaRPr>
          </a:p>
          <a:p>
            <a:pPr marL="0" marR="0" indent="0" algn="l" defTabSz="911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6" b="1" i="0" u="none" strike="noStrike" cap="all" normalizeH="0" baseline="0" noProof="1">
                <a:ln>
                  <a:noFill/>
                </a:ln>
                <a:solidFill>
                  <a:schemeClr val="tx1"/>
                </a:solidFill>
                <a:effectLst/>
                <a:latin typeface="AU Passata" pitchFamily="34" charset="0"/>
              </a:rPr>
              <a:t>INSTITUT FOR STATSKUNDSKAB</a:t>
            </a:r>
          </a:p>
          <a:p>
            <a:pPr marL="0" marR="0" indent="0" algn="l" defTabSz="9112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6" b="0" i="0" u="none" strike="noStrike" cap="all" normalizeH="0" baseline="0" noProof="1">
                <a:ln>
                  <a:noFill/>
                </a:ln>
                <a:solidFill>
                  <a:schemeClr val="tx1"/>
                </a:solidFill>
                <a:effectLst/>
                <a:latin typeface="AU Passata" pitchFamily="34" charset="0"/>
              </a:rPr>
              <a:t>AARHUS UNIVERSITET</a:t>
            </a:r>
          </a:p>
        </p:txBody>
      </p:sp>
      <p:pic>
        <p:nvPicPr>
          <p:cNvPr id="31" name="Billede 30">
            <a:extLst>
              <a:ext uri="{FF2B5EF4-FFF2-40B4-BE49-F238E27FC236}">
                <a16:creationId xmlns:a16="http://schemas.microsoft.com/office/drawing/2014/main" id="{4A3EA3D7-6180-C644-A353-4BB2C8445D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609"/>
          <a:stretch/>
        </p:blipFill>
        <p:spPr>
          <a:xfrm>
            <a:off x="292047" y="5986690"/>
            <a:ext cx="632226" cy="618183"/>
          </a:xfrm>
          <a:prstGeom prst="rect">
            <a:avLst/>
          </a:prstGeom>
        </p:spPr>
      </p:pic>
      <p:pic>
        <p:nvPicPr>
          <p:cNvPr id="26" name="Billede 25">
            <a:extLst>
              <a:ext uri="{FF2B5EF4-FFF2-40B4-BE49-F238E27FC236}">
                <a16:creationId xmlns:a16="http://schemas.microsoft.com/office/drawing/2014/main" id="{2B5AD45F-A2C0-9144-96AF-6230DA808F87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513" y="5557203"/>
            <a:ext cx="3817419" cy="175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33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  <p:sldLayoutId id="2147483735" r:id="rId20"/>
    <p:sldLayoutId id="2147483736" r:id="rId21"/>
  </p:sldLayoutIdLst>
  <p:hf sldNum="0" hdr="0" ftr="0"/>
  <p:txStyles>
    <p:titleStyle>
      <a:lvl1pPr algn="l" rtl="0" eaLnBrk="1" fontAlgn="base" hangingPunct="1">
        <a:lnSpc>
          <a:spcPct val="89000"/>
        </a:lnSpc>
        <a:spcBef>
          <a:spcPct val="0"/>
        </a:spcBef>
        <a:spcAft>
          <a:spcPct val="0"/>
        </a:spcAft>
        <a:defRPr sz="4483" b="1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85">
          <a:solidFill>
            <a:schemeClr val="bg2"/>
          </a:solidFill>
          <a:latin typeface="AU Passata" pitchFamily="34" charset="0"/>
        </a:defRPr>
      </a:lvl2pPr>
      <a:lvl3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85">
          <a:solidFill>
            <a:schemeClr val="bg2"/>
          </a:solidFill>
          <a:latin typeface="AU Passata" pitchFamily="34" charset="0"/>
        </a:defRPr>
      </a:lvl3pPr>
      <a:lvl4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85">
          <a:solidFill>
            <a:schemeClr val="bg2"/>
          </a:solidFill>
          <a:latin typeface="AU Passata" pitchFamily="34" charset="0"/>
        </a:defRPr>
      </a:lvl4pPr>
      <a:lvl5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85">
          <a:solidFill>
            <a:schemeClr val="bg2"/>
          </a:solidFill>
          <a:latin typeface="AU Passata" pitchFamily="34" charset="0"/>
        </a:defRPr>
      </a:lvl5pPr>
      <a:lvl6pPr marL="455602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85">
          <a:solidFill>
            <a:schemeClr val="bg2"/>
          </a:solidFill>
          <a:latin typeface="AU Passata" pitchFamily="34" charset="0"/>
        </a:defRPr>
      </a:lvl6pPr>
      <a:lvl7pPr marL="911202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85">
          <a:solidFill>
            <a:schemeClr val="bg2"/>
          </a:solidFill>
          <a:latin typeface="AU Passata" pitchFamily="34" charset="0"/>
        </a:defRPr>
      </a:lvl7pPr>
      <a:lvl8pPr marL="1366804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85">
          <a:solidFill>
            <a:schemeClr val="bg2"/>
          </a:solidFill>
          <a:latin typeface="AU Passata" pitchFamily="34" charset="0"/>
        </a:defRPr>
      </a:lvl8pPr>
      <a:lvl9pPr marL="1822403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85">
          <a:solidFill>
            <a:schemeClr val="bg2"/>
          </a:solidFill>
          <a:latin typeface="AU Passata" pitchFamily="34" charset="0"/>
        </a:defRPr>
      </a:lvl9pPr>
    </p:titleStyle>
    <p:bodyStyle>
      <a:lvl1pPr marL="0" indent="0" algn="l" rtl="0" eaLnBrk="1" fontAlgn="base" hangingPunct="1">
        <a:lnSpc>
          <a:spcPct val="99000"/>
        </a:lnSpc>
        <a:spcBef>
          <a:spcPts val="598"/>
        </a:spcBef>
        <a:spcAft>
          <a:spcPct val="0"/>
        </a:spcAft>
        <a:buClr>
          <a:schemeClr val="tx1"/>
        </a:buClr>
        <a:buSzPct val="100000"/>
        <a:buFont typeface="Calibri" panose="020F0502020204030204" pitchFamily="34" charset="0"/>
        <a:buChar char="​"/>
        <a:defRPr sz="1993" b="0">
          <a:solidFill>
            <a:schemeClr val="tx1"/>
          </a:solidFill>
          <a:latin typeface="+mn-lt"/>
          <a:ea typeface="+mn-ea"/>
          <a:cs typeface="+mn-cs"/>
        </a:defRPr>
      </a:lvl1pPr>
      <a:lvl2pPr marL="430488" indent="-179371" algn="l" rtl="0" eaLnBrk="1" fontAlgn="base" hangingPunct="1">
        <a:lnSpc>
          <a:spcPct val="99000"/>
        </a:lnSpc>
        <a:spcBef>
          <a:spcPts val="598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993">
          <a:solidFill>
            <a:schemeClr val="tx1"/>
          </a:solidFill>
          <a:latin typeface="+mn-lt"/>
        </a:defRPr>
      </a:lvl2pPr>
      <a:lvl3pPr marL="753355" indent="-179371" algn="l" rtl="0" eaLnBrk="1" fontAlgn="base" hangingPunct="1">
        <a:lnSpc>
          <a:spcPct val="99000"/>
        </a:lnSpc>
        <a:spcBef>
          <a:spcPts val="598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993">
          <a:solidFill>
            <a:schemeClr val="tx1"/>
          </a:solidFill>
          <a:latin typeface="+mn-lt"/>
        </a:defRPr>
      </a:lvl3pPr>
      <a:lvl4pPr marL="1147970" indent="-179371" algn="l" rtl="0" eaLnBrk="1" fontAlgn="base" hangingPunct="1">
        <a:lnSpc>
          <a:spcPct val="99000"/>
        </a:lnSpc>
        <a:spcBef>
          <a:spcPts val="598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993">
          <a:solidFill>
            <a:schemeClr val="tx1"/>
          </a:solidFill>
          <a:latin typeface="+mn-lt"/>
        </a:defRPr>
      </a:lvl4pPr>
      <a:lvl5pPr marL="1506712" indent="-179371" algn="l" rtl="0" eaLnBrk="1" fontAlgn="base" hangingPunct="1">
        <a:lnSpc>
          <a:spcPct val="99000"/>
        </a:lnSpc>
        <a:spcBef>
          <a:spcPts val="598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993">
          <a:solidFill>
            <a:schemeClr val="tx1"/>
          </a:solidFill>
          <a:latin typeface="+mn-lt"/>
        </a:defRPr>
      </a:lvl5pPr>
      <a:lvl6pPr marL="1829579" indent="-179371" algn="l" rtl="0" eaLnBrk="1" fontAlgn="base" hangingPunct="1">
        <a:lnSpc>
          <a:spcPct val="99000"/>
        </a:lnSpc>
        <a:spcBef>
          <a:spcPts val="598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993">
          <a:solidFill>
            <a:schemeClr val="tx1"/>
          </a:solidFill>
          <a:latin typeface="+mn-lt"/>
        </a:defRPr>
      </a:lvl6pPr>
      <a:lvl7pPr marL="1829579" indent="-179371" algn="l" rtl="0" eaLnBrk="1" fontAlgn="base" hangingPunct="1">
        <a:lnSpc>
          <a:spcPct val="99000"/>
        </a:lnSpc>
        <a:spcBef>
          <a:spcPts val="598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993">
          <a:solidFill>
            <a:schemeClr val="tx1"/>
          </a:solidFill>
          <a:latin typeface="+mn-lt"/>
        </a:defRPr>
      </a:lvl7pPr>
      <a:lvl8pPr marL="1829579" indent="-179371" algn="l" rtl="0" eaLnBrk="1" fontAlgn="base" hangingPunct="1">
        <a:lnSpc>
          <a:spcPct val="99000"/>
        </a:lnSpc>
        <a:spcBef>
          <a:spcPts val="598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993">
          <a:solidFill>
            <a:schemeClr val="tx1"/>
          </a:solidFill>
          <a:latin typeface="+mn-lt"/>
        </a:defRPr>
      </a:lvl8pPr>
      <a:lvl9pPr marL="1829579" indent="-179371" algn="l" rtl="0" eaLnBrk="1" fontAlgn="base" hangingPunct="1">
        <a:lnSpc>
          <a:spcPct val="99000"/>
        </a:lnSpc>
        <a:spcBef>
          <a:spcPts val="598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993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1202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1pPr>
      <a:lvl2pPr marL="455602" algn="l" defTabSz="911202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2pPr>
      <a:lvl3pPr marL="911202" algn="l" defTabSz="911202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3pPr>
      <a:lvl4pPr marL="1366804" algn="l" defTabSz="911202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4pPr>
      <a:lvl5pPr marL="1822403" algn="l" defTabSz="911202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5pPr>
      <a:lvl6pPr marL="2278004" algn="l" defTabSz="911202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6pPr>
      <a:lvl7pPr marL="2733605" algn="l" defTabSz="911202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7pPr>
      <a:lvl8pPr marL="3189206" algn="l" defTabSz="911202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8pPr>
      <a:lvl9pPr marL="3644808" algn="l" defTabSz="911202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3715">
          <p15:clr>
            <a:srgbClr val="000000"/>
          </p15:clr>
        </p15:guide>
        <p15:guide id="5" orient="horz" pos="4131">
          <p15:clr>
            <a:srgbClr val="A4A3A4"/>
          </p15:clr>
        </p15:guide>
        <p15:guide id="6" pos="7479">
          <p15:clr>
            <a:srgbClr val="A4A3A4"/>
          </p15:clr>
        </p15:guide>
        <p15:guide id="7" orient="horz" pos="1234">
          <p15:clr>
            <a:srgbClr val="000000"/>
          </p15:clr>
        </p15:guide>
        <p15:guide id="8" pos="7059">
          <p15:clr>
            <a:srgbClr val="000000"/>
          </p15:clr>
        </p15:guide>
        <p15:guide id="9" pos="199">
          <p15:clr>
            <a:srgbClr val="A4A3A4"/>
          </p15:clr>
        </p15:guide>
        <p15:guide id="10" pos="621">
          <p15:clr>
            <a:srgbClr val="000000"/>
          </p15:clr>
        </p15:guide>
        <p15:guide id="11" orient="horz" pos="199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Placeholder title 1"/>
          <p:cNvSpPr>
            <a:spLocks noGrp="1" noChangeArrowheads="1"/>
          </p:cNvSpPr>
          <p:nvPr>
            <p:ph type="title"/>
          </p:nvPr>
        </p:nvSpPr>
        <p:spPr bwMode="auto">
          <a:xfrm>
            <a:off x="315996" y="149115"/>
            <a:ext cx="11560010" cy="1309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  <a:endParaRPr lang="en-GB"/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86096" y="1960079"/>
            <a:ext cx="10222987" cy="39374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 level</a:t>
            </a:r>
            <a:endParaRPr lang="en-GB"/>
          </a:p>
          <a:p>
            <a:pPr lvl="6"/>
            <a:r>
              <a:rPr lang="en-GB" noProof="0" dirty="0"/>
              <a:t>7 level</a:t>
            </a:r>
            <a:endParaRPr lang="en-GB"/>
          </a:p>
          <a:p>
            <a:pPr lvl="7"/>
            <a:r>
              <a:rPr lang="en-GB" noProof="0" dirty="0"/>
              <a:t>8 level</a:t>
            </a:r>
            <a:endParaRPr lang="en-GB"/>
          </a:p>
          <a:p>
            <a:pPr lvl="8"/>
            <a:r>
              <a:rPr lang="en-GB" noProof="0" dirty="0"/>
              <a:t>9 level</a:t>
            </a:r>
            <a:endParaRPr lang="en-GB"/>
          </a:p>
        </p:txBody>
      </p:sp>
      <p:sp>
        <p:nvSpPr>
          <p:cNvPr id="23" name="Black Rectangle"/>
          <p:cNvSpPr/>
          <p:nvPr userDrawn="1"/>
        </p:nvSpPr>
        <p:spPr>
          <a:xfrm>
            <a:off x="989698" y="1663088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91" dirty="0"/>
          </a:p>
          <a:p>
            <a:pPr algn="ctr"/>
            <a:endParaRPr lang="en-GB" sz="4791" dirty="0"/>
          </a:p>
        </p:txBody>
      </p:sp>
      <p:sp>
        <p:nvSpPr>
          <p:cNvPr id="25" name="OFF_logo2Computed"/>
          <p:cNvSpPr txBox="1">
            <a:spLocks noChangeArrowheads="1"/>
          </p:cNvSpPr>
          <p:nvPr userDrawn="1"/>
        </p:nvSpPr>
        <p:spPr bwMode="auto">
          <a:xfrm>
            <a:off x="972255" y="5997600"/>
            <a:ext cx="2350657" cy="445030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68931" rIns="0" bIns="0">
            <a:spAutoFit/>
          </a:bodyPr>
          <a:lstStyle/>
          <a:p>
            <a:pPr>
              <a:lnSpc>
                <a:spcPct val="100000"/>
              </a:lnSpc>
              <a:defRPr/>
            </a:pPr>
            <a:endParaRPr lang="en-GB" sz="898" cap="all" spc="40" baseline="0" dirty="0">
              <a:solidFill>
                <a:schemeClr val="tx1"/>
              </a:solidFill>
              <a:latin typeface="+mn-lt"/>
            </a:endParaRPr>
          </a:p>
          <a:p>
            <a:pPr>
              <a:lnSpc>
                <a:spcPct val="100000"/>
              </a:lnSpc>
              <a:defRPr/>
            </a:pPr>
            <a:endParaRPr lang="en-GB" sz="898" cap="all" spc="40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30" name="Sidetal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811076" y="6580800"/>
            <a:ext cx="25206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ts val="1198"/>
              </a:lnSpc>
              <a:buFontTx/>
              <a:buNone/>
              <a:defRPr sz="699" spc="40" baseline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2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3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4" name="OFF_logo1Computed">
            <a:extLst>
              <a:ext uri="{FF2B5EF4-FFF2-40B4-BE49-F238E27FC236}">
                <a16:creationId xmlns:a16="http://schemas.microsoft.com/office/drawing/2014/main" id="{460550A4-1BD9-7A4B-82D9-12C2CAA0609D}"/>
              </a:ext>
            </a:extLst>
          </p:cNvPr>
          <p:cNvSpPr/>
          <p:nvPr userDrawn="1"/>
        </p:nvSpPr>
        <p:spPr bwMode="auto">
          <a:xfrm>
            <a:off x="972254" y="6007004"/>
            <a:ext cx="1866381" cy="590092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35942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29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8" b="1" i="0" u="none" strike="noStrike" cap="all" normalizeH="0" baseline="0" noProof="1">
              <a:ln>
                <a:noFill/>
              </a:ln>
              <a:solidFill>
                <a:schemeClr val="tx1"/>
              </a:solidFill>
              <a:effectLst/>
              <a:latin typeface="AU Passata" pitchFamily="34" charset="0"/>
            </a:endParaRPr>
          </a:p>
          <a:p>
            <a:pPr marL="0" marR="0" indent="0" algn="l" defTabSz="9129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898" b="1" i="0" u="none" strike="noStrike" cap="all" normalizeH="0" baseline="0" noProof="1">
              <a:ln>
                <a:noFill/>
              </a:ln>
              <a:solidFill>
                <a:schemeClr val="tx1"/>
              </a:solidFill>
              <a:effectLst/>
              <a:latin typeface="AU Passata" pitchFamily="34" charset="0"/>
            </a:endParaRPr>
          </a:p>
          <a:p>
            <a:pPr marL="0" marR="0" indent="0" algn="l" defTabSz="9129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8" b="1" i="0" u="none" strike="noStrike" cap="all" normalizeH="0" baseline="0" noProof="1">
                <a:ln>
                  <a:noFill/>
                </a:ln>
                <a:solidFill>
                  <a:schemeClr val="tx1"/>
                </a:solidFill>
                <a:effectLst/>
                <a:latin typeface="AU Passata" pitchFamily="34" charset="0"/>
              </a:rPr>
              <a:t>INSTITUT FOR STATSKUNDSKAB</a:t>
            </a:r>
          </a:p>
          <a:p>
            <a:pPr marL="0" marR="0" indent="0" algn="l" defTabSz="9129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898" b="0" i="0" u="none" strike="noStrike" cap="all" normalizeH="0" baseline="0" noProof="1">
                <a:ln>
                  <a:noFill/>
                </a:ln>
                <a:solidFill>
                  <a:schemeClr val="tx1"/>
                </a:solidFill>
                <a:effectLst/>
                <a:latin typeface="AU Passata" pitchFamily="34" charset="0"/>
              </a:rPr>
              <a:t>AARHUS UNIVERSITET</a:t>
            </a:r>
          </a:p>
        </p:txBody>
      </p:sp>
      <p:pic>
        <p:nvPicPr>
          <p:cNvPr id="31" name="Billede 30">
            <a:extLst>
              <a:ext uri="{FF2B5EF4-FFF2-40B4-BE49-F238E27FC236}">
                <a16:creationId xmlns:a16="http://schemas.microsoft.com/office/drawing/2014/main" id="{4A3EA3D7-6180-C644-A353-4BB2C8445D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609"/>
          <a:stretch/>
        </p:blipFill>
        <p:spPr>
          <a:xfrm>
            <a:off x="292046" y="5986689"/>
            <a:ext cx="632226" cy="618183"/>
          </a:xfrm>
          <a:prstGeom prst="rect">
            <a:avLst/>
          </a:prstGeom>
        </p:spPr>
      </p:pic>
      <p:pic>
        <p:nvPicPr>
          <p:cNvPr id="26" name="Billede 25">
            <a:extLst>
              <a:ext uri="{FF2B5EF4-FFF2-40B4-BE49-F238E27FC236}">
                <a16:creationId xmlns:a16="http://schemas.microsoft.com/office/drawing/2014/main" id="{2B5AD45F-A2C0-9144-96AF-6230DA808F87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511" y="5557202"/>
            <a:ext cx="3817419" cy="175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296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753" r:id="rId16"/>
    <p:sldLayoutId id="2147483754" r:id="rId17"/>
    <p:sldLayoutId id="2147483755" r:id="rId18"/>
    <p:sldLayoutId id="2147483756" r:id="rId19"/>
    <p:sldLayoutId id="2147483757" r:id="rId20"/>
  </p:sldLayoutIdLst>
  <p:hf sldNum="0" hdr="0" ftr="0"/>
  <p:txStyles>
    <p:titleStyle>
      <a:lvl1pPr algn="l" rtl="0" eaLnBrk="1" fontAlgn="base" hangingPunct="1">
        <a:lnSpc>
          <a:spcPct val="89000"/>
        </a:lnSpc>
        <a:spcBef>
          <a:spcPct val="0"/>
        </a:spcBef>
        <a:spcAft>
          <a:spcPct val="0"/>
        </a:spcAft>
        <a:defRPr sz="4492" b="1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3">
          <a:solidFill>
            <a:schemeClr val="bg2"/>
          </a:solidFill>
          <a:latin typeface="AU Passata" pitchFamily="34" charset="0"/>
        </a:defRPr>
      </a:lvl2pPr>
      <a:lvl3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3">
          <a:solidFill>
            <a:schemeClr val="bg2"/>
          </a:solidFill>
          <a:latin typeface="AU Passata" pitchFamily="34" charset="0"/>
        </a:defRPr>
      </a:lvl3pPr>
      <a:lvl4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3">
          <a:solidFill>
            <a:schemeClr val="bg2"/>
          </a:solidFill>
          <a:latin typeface="AU Passata" pitchFamily="34" charset="0"/>
        </a:defRPr>
      </a:lvl4pPr>
      <a:lvl5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3">
          <a:solidFill>
            <a:schemeClr val="bg2"/>
          </a:solidFill>
          <a:latin typeface="AU Passata" pitchFamily="34" charset="0"/>
        </a:defRPr>
      </a:lvl5pPr>
      <a:lvl6pPr marL="456468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3">
          <a:solidFill>
            <a:schemeClr val="bg2"/>
          </a:solidFill>
          <a:latin typeface="AU Passata" pitchFamily="34" charset="0"/>
        </a:defRPr>
      </a:lvl6pPr>
      <a:lvl7pPr marL="912937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3">
          <a:solidFill>
            <a:schemeClr val="bg2"/>
          </a:solidFill>
          <a:latin typeface="AU Passata" pitchFamily="34" charset="0"/>
        </a:defRPr>
      </a:lvl7pPr>
      <a:lvl8pPr marL="1369405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3">
          <a:solidFill>
            <a:schemeClr val="bg2"/>
          </a:solidFill>
          <a:latin typeface="AU Passata" pitchFamily="34" charset="0"/>
        </a:defRPr>
      </a:lvl8pPr>
      <a:lvl9pPr marL="1825873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3">
          <a:solidFill>
            <a:schemeClr val="bg2"/>
          </a:solidFill>
          <a:latin typeface="AU Passata" pitchFamily="34" charset="0"/>
        </a:defRPr>
      </a:lvl9pPr>
    </p:titleStyle>
    <p:bodyStyle>
      <a:lvl1pPr marL="0" indent="0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SzPct val="100000"/>
        <a:buFont typeface="Calibri" panose="020F0502020204030204" pitchFamily="34" charset="0"/>
        <a:buChar char="​"/>
        <a:defRPr sz="1997" b="0">
          <a:solidFill>
            <a:schemeClr val="tx1"/>
          </a:solidFill>
          <a:latin typeface="+mn-lt"/>
          <a:ea typeface="+mn-ea"/>
          <a:cs typeface="+mn-cs"/>
        </a:defRPr>
      </a:lvl1pPr>
      <a:lvl2pPr marL="431308" indent="-179712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2pPr>
      <a:lvl3pPr marL="754790" indent="-179712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3pPr>
      <a:lvl4pPr marL="1150156" indent="-179712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4pPr>
      <a:lvl5pPr marL="1509580" indent="-179712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5pPr>
      <a:lvl6pPr marL="1833062" indent="-179712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6pPr>
      <a:lvl7pPr marL="1833062" indent="-179712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7pPr>
      <a:lvl8pPr marL="1833062" indent="-179712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8pPr>
      <a:lvl9pPr marL="1833062" indent="-179712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293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468" algn="l" defTabSz="91293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2937" algn="l" defTabSz="91293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69405" algn="l" defTabSz="91293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5873" algn="l" defTabSz="91293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2341" algn="l" defTabSz="91293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38809" algn="l" defTabSz="91293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5277" algn="l" defTabSz="91293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1746" algn="l" defTabSz="91293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3715">
          <p15:clr>
            <a:srgbClr val="000000"/>
          </p15:clr>
        </p15:guide>
        <p15:guide id="5" orient="horz" pos="4131">
          <p15:clr>
            <a:srgbClr val="A4A3A4"/>
          </p15:clr>
        </p15:guide>
        <p15:guide id="6" pos="7479">
          <p15:clr>
            <a:srgbClr val="A4A3A4"/>
          </p15:clr>
        </p15:guide>
        <p15:guide id="7" orient="horz" pos="1234">
          <p15:clr>
            <a:srgbClr val="000000"/>
          </p15:clr>
        </p15:guide>
        <p15:guide id="8" pos="7059">
          <p15:clr>
            <a:srgbClr val="000000"/>
          </p15:clr>
        </p15:guide>
        <p15:guide id="9" pos="199">
          <p15:clr>
            <a:srgbClr val="A4A3A4"/>
          </p15:clr>
        </p15:guide>
        <p15:guide id="10" pos="621">
          <p15:clr>
            <a:srgbClr val="000000"/>
          </p15:clr>
        </p15:guide>
        <p15:guide id="11" orient="horz" pos="199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782" y="1844"/>
          <a:ext cx="1780" cy="17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782" y="1844"/>
                        <a:ext cx="1780" cy="17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480039" y="6431920"/>
            <a:ext cx="756913" cy="1924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587">
                <a:solidFill>
                  <a:schemeClr val="bg2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defTabSz="436021"/>
            <a:r>
              <a:rPr lang="da-DK" smtClean="0">
                <a:solidFill>
                  <a:srgbClr val="A1938E">
                    <a:lumMod val="50000"/>
                  </a:srgbClr>
                </a:solidFill>
              </a:rPr>
              <a:t> Side </a:t>
            </a:r>
            <a:fld id="{8D1860DE-99E2-CA4F-B49F-9FA189F66E94}" type="slidenum">
              <a:rPr lang="da-DK" smtClean="0">
                <a:solidFill>
                  <a:srgbClr val="A1938E">
                    <a:lumMod val="50000"/>
                  </a:srgbClr>
                </a:solidFill>
              </a:rPr>
              <a:pPr defTabSz="436021"/>
              <a:t>‹nr.›</a:t>
            </a:fld>
            <a:endParaRPr lang="da-DK" dirty="0">
              <a:solidFill>
                <a:srgbClr val="A1938E">
                  <a:lumMod val="50000"/>
                </a:srgbClr>
              </a:solidFill>
            </a:endParaRPr>
          </a:p>
        </p:txBody>
      </p:sp>
      <p:sp>
        <p:nvSpPr>
          <p:cNvPr id="5" name="Pladsholder til titel 4"/>
          <p:cNvSpPr>
            <a:spLocks noGrp="1"/>
          </p:cNvSpPr>
          <p:nvPr>
            <p:ph type="title"/>
          </p:nvPr>
        </p:nvSpPr>
        <p:spPr>
          <a:xfrm>
            <a:off x="482137" y="493530"/>
            <a:ext cx="11231298" cy="7918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da-DK" dirty="0"/>
              <a:t>Klik og tilføj en aktiv overskrift</a:t>
            </a:r>
            <a:br>
              <a:rPr lang="da-DK" dirty="0"/>
            </a:br>
            <a:r>
              <a:rPr lang="da-DK" dirty="0"/>
              <a:t>- overskriften kan fylde op til to linjer</a:t>
            </a:r>
          </a:p>
        </p:txBody>
      </p:sp>
      <p:sp>
        <p:nvSpPr>
          <p:cNvPr id="8" name="Pladsholder til tekst 7"/>
          <p:cNvSpPr>
            <a:spLocks noGrp="1"/>
          </p:cNvSpPr>
          <p:nvPr>
            <p:ph type="body" idx="1"/>
          </p:nvPr>
        </p:nvSpPr>
        <p:spPr>
          <a:xfrm>
            <a:off x="482137" y="1313463"/>
            <a:ext cx="11231298" cy="2250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og tilføj evt. en underoverskrift</a:t>
            </a:r>
          </a:p>
        </p:txBody>
      </p:sp>
      <p:sp>
        <p:nvSpPr>
          <p:cNvPr id="9" name="Pladsholder til sidefod 8"/>
          <p:cNvSpPr>
            <a:spLocks noGrp="1"/>
          </p:cNvSpPr>
          <p:nvPr>
            <p:ph type="ftr" sz="quarter" idx="3"/>
          </p:nvPr>
        </p:nvSpPr>
        <p:spPr>
          <a:xfrm>
            <a:off x="482130" y="233050"/>
            <a:ext cx="11231299" cy="26048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38">
                <a:solidFill>
                  <a:schemeClr val="accent3"/>
                </a:solidFill>
              </a:defRPr>
            </a:lvl1pPr>
          </a:lstStyle>
          <a:p>
            <a:pPr defTabSz="436021"/>
            <a:r>
              <a:rPr lang="da-DK" smtClean="0">
                <a:solidFill>
                  <a:srgbClr val="420A12"/>
                </a:solidFill>
              </a:rPr>
              <a:t>KLIK OG TILFØJ EVT. EN DELOVERSKRIFT/AFSNITSANGIVELSE</a:t>
            </a:r>
            <a:endParaRPr lang="da-DK" dirty="0">
              <a:solidFill>
                <a:srgbClr val="420A1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117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</p:sldLayoutIdLst>
  <p:hf sldNum="0" hdr="0" ftr="0" dt="0"/>
  <p:txStyles>
    <p:titleStyle>
      <a:lvl1pPr algn="l" defTabSz="325182" rtl="0" eaLnBrk="1" latinLnBrk="0" hangingPunct="1">
        <a:lnSpc>
          <a:spcPct val="90000"/>
        </a:lnSpc>
        <a:spcBef>
          <a:spcPct val="0"/>
        </a:spcBef>
        <a:buNone/>
        <a:defRPr sz="2014" b="1" i="0" kern="1200" cap="none" baseline="0">
          <a:solidFill>
            <a:schemeClr val="accent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325182" rtl="0" eaLnBrk="1" latinLnBrk="0" hangingPunct="1">
        <a:lnSpc>
          <a:spcPct val="100000"/>
        </a:lnSpc>
        <a:spcBef>
          <a:spcPts val="355"/>
        </a:spcBef>
        <a:buFont typeface="Arial" panose="020B0604020202020204" pitchFamily="34" charset="0"/>
        <a:buNone/>
        <a:defRPr sz="1175" kern="1200" baseline="0">
          <a:solidFill>
            <a:schemeClr val="accent2"/>
          </a:solidFill>
          <a:latin typeface="Arial" charset="0"/>
          <a:ea typeface="Arial" charset="0"/>
          <a:cs typeface="Arial" charset="0"/>
        </a:defRPr>
      </a:lvl1pPr>
      <a:lvl2pPr marL="243887" indent="-81295" algn="l" defTabSz="325182" rtl="0" eaLnBrk="1" latinLnBrk="0" hangingPunct="1">
        <a:lnSpc>
          <a:spcPct val="100000"/>
        </a:lnSpc>
        <a:spcBef>
          <a:spcPts val="177"/>
        </a:spcBef>
        <a:buFont typeface="Arial" panose="020B0604020202020204" pitchFamily="34" charset="0"/>
        <a:buChar char="•"/>
        <a:defRPr sz="151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406478" indent="-81295" algn="l" defTabSz="325182" rtl="0" eaLnBrk="1" latinLnBrk="0" hangingPunct="1">
        <a:lnSpc>
          <a:spcPct val="90000"/>
        </a:lnSpc>
        <a:spcBef>
          <a:spcPts val="177"/>
        </a:spcBef>
        <a:buFont typeface="Arial" panose="020B0604020202020204" pitchFamily="34" charset="0"/>
        <a:buChar char="•"/>
        <a:defRPr sz="2014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569069" indent="-81295" algn="l" defTabSz="325182" rtl="0" eaLnBrk="1" latinLnBrk="0" hangingPunct="1">
        <a:lnSpc>
          <a:spcPct val="90000"/>
        </a:lnSpc>
        <a:spcBef>
          <a:spcPts val="177"/>
        </a:spcBef>
        <a:buFont typeface="Arial" panose="020B0604020202020204" pitchFamily="34" charset="0"/>
        <a:buChar char="•"/>
        <a:defRPr sz="2014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731658" indent="-81295" algn="l" defTabSz="325182" rtl="0" eaLnBrk="1" latinLnBrk="0" hangingPunct="1">
        <a:lnSpc>
          <a:spcPct val="90000"/>
        </a:lnSpc>
        <a:spcBef>
          <a:spcPts val="177"/>
        </a:spcBef>
        <a:buFont typeface="Arial" panose="020B0604020202020204" pitchFamily="34" charset="0"/>
        <a:buChar char="•"/>
        <a:defRPr sz="2014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894248" indent="-81295" algn="l" defTabSz="325182" rtl="0" eaLnBrk="1" latinLnBrk="0" hangingPunct="1">
        <a:lnSpc>
          <a:spcPct val="90000"/>
        </a:lnSpc>
        <a:spcBef>
          <a:spcPts val="177"/>
        </a:spcBef>
        <a:buFont typeface="Arial" panose="020B0604020202020204" pitchFamily="34" charset="0"/>
        <a:buChar char="•"/>
        <a:defRPr sz="660" kern="1200">
          <a:solidFill>
            <a:schemeClr val="tx1"/>
          </a:solidFill>
          <a:latin typeface="+mn-lt"/>
          <a:ea typeface="+mn-ea"/>
          <a:cs typeface="+mn-cs"/>
        </a:defRPr>
      </a:lvl6pPr>
      <a:lvl7pPr marL="1056840" indent="-81295" algn="l" defTabSz="325182" rtl="0" eaLnBrk="1" latinLnBrk="0" hangingPunct="1">
        <a:lnSpc>
          <a:spcPct val="90000"/>
        </a:lnSpc>
        <a:spcBef>
          <a:spcPts val="177"/>
        </a:spcBef>
        <a:buFont typeface="Arial" panose="020B0604020202020204" pitchFamily="34" charset="0"/>
        <a:buChar char="•"/>
        <a:defRPr sz="660" kern="1200">
          <a:solidFill>
            <a:schemeClr val="tx1"/>
          </a:solidFill>
          <a:latin typeface="+mn-lt"/>
          <a:ea typeface="+mn-ea"/>
          <a:cs typeface="+mn-cs"/>
        </a:defRPr>
      </a:lvl7pPr>
      <a:lvl8pPr marL="1219431" indent="-81295" algn="l" defTabSz="325182" rtl="0" eaLnBrk="1" latinLnBrk="0" hangingPunct="1">
        <a:lnSpc>
          <a:spcPct val="90000"/>
        </a:lnSpc>
        <a:spcBef>
          <a:spcPts val="177"/>
        </a:spcBef>
        <a:buFont typeface="Arial" panose="020B0604020202020204" pitchFamily="34" charset="0"/>
        <a:buChar char="•"/>
        <a:defRPr sz="660" kern="1200">
          <a:solidFill>
            <a:schemeClr val="tx1"/>
          </a:solidFill>
          <a:latin typeface="+mn-lt"/>
          <a:ea typeface="+mn-ea"/>
          <a:cs typeface="+mn-cs"/>
        </a:defRPr>
      </a:lvl8pPr>
      <a:lvl9pPr marL="1382020" indent="-81295" algn="l" defTabSz="325182" rtl="0" eaLnBrk="1" latinLnBrk="0" hangingPunct="1">
        <a:lnSpc>
          <a:spcPct val="90000"/>
        </a:lnSpc>
        <a:spcBef>
          <a:spcPts val="177"/>
        </a:spcBef>
        <a:buFont typeface="Arial" panose="020B0604020202020204" pitchFamily="34" charset="0"/>
        <a:buChar char="•"/>
        <a:defRPr sz="6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325182" rtl="0" eaLnBrk="1" latinLnBrk="0" hangingPunct="1">
        <a:defRPr sz="660" kern="1200">
          <a:solidFill>
            <a:schemeClr val="tx1"/>
          </a:solidFill>
          <a:latin typeface="+mn-lt"/>
          <a:ea typeface="+mn-ea"/>
          <a:cs typeface="+mn-cs"/>
        </a:defRPr>
      </a:lvl1pPr>
      <a:lvl2pPr marL="162592" algn="l" defTabSz="325182" rtl="0" eaLnBrk="1" latinLnBrk="0" hangingPunct="1">
        <a:defRPr sz="660" kern="1200">
          <a:solidFill>
            <a:schemeClr val="tx1"/>
          </a:solidFill>
          <a:latin typeface="+mn-lt"/>
          <a:ea typeface="+mn-ea"/>
          <a:cs typeface="+mn-cs"/>
        </a:defRPr>
      </a:lvl2pPr>
      <a:lvl3pPr marL="325182" algn="l" defTabSz="325182" rtl="0" eaLnBrk="1" latinLnBrk="0" hangingPunct="1">
        <a:defRPr sz="660" kern="1200">
          <a:solidFill>
            <a:schemeClr val="tx1"/>
          </a:solidFill>
          <a:latin typeface="+mn-lt"/>
          <a:ea typeface="+mn-ea"/>
          <a:cs typeface="+mn-cs"/>
        </a:defRPr>
      </a:lvl3pPr>
      <a:lvl4pPr marL="487771" algn="l" defTabSz="325182" rtl="0" eaLnBrk="1" latinLnBrk="0" hangingPunct="1">
        <a:defRPr sz="660" kern="1200">
          <a:solidFill>
            <a:schemeClr val="tx1"/>
          </a:solidFill>
          <a:latin typeface="+mn-lt"/>
          <a:ea typeface="+mn-ea"/>
          <a:cs typeface="+mn-cs"/>
        </a:defRPr>
      </a:lvl4pPr>
      <a:lvl5pPr marL="650361" algn="l" defTabSz="325182" rtl="0" eaLnBrk="1" latinLnBrk="0" hangingPunct="1">
        <a:defRPr sz="660" kern="1200">
          <a:solidFill>
            <a:schemeClr val="tx1"/>
          </a:solidFill>
          <a:latin typeface="+mn-lt"/>
          <a:ea typeface="+mn-ea"/>
          <a:cs typeface="+mn-cs"/>
        </a:defRPr>
      </a:lvl5pPr>
      <a:lvl6pPr marL="812954" algn="l" defTabSz="325182" rtl="0" eaLnBrk="1" latinLnBrk="0" hangingPunct="1">
        <a:defRPr sz="660" kern="1200">
          <a:solidFill>
            <a:schemeClr val="tx1"/>
          </a:solidFill>
          <a:latin typeface="+mn-lt"/>
          <a:ea typeface="+mn-ea"/>
          <a:cs typeface="+mn-cs"/>
        </a:defRPr>
      </a:lvl6pPr>
      <a:lvl7pPr marL="975546" algn="l" defTabSz="325182" rtl="0" eaLnBrk="1" latinLnBrk="0" hangingPunct="1">
        <a:defRPr sz="660" kern="1200">
          <a:solidFill>
            <a:schemeClr val="tx1"/>
          </a:solidFill>
          <a:latin typeface="+mn-lt"/>
          <a:ea typeface="+mn-ea"/>
          <a:cs typeface="+mn-cs"/>
        </a:defRPr>
      </a:lvl7pPr>
      <a:lvl8pPr marL="1138135" algn="l" defTabSz="325182" rtl="0" eaLnBrk="1" latinLnBrk="0" hangingPunct="1">
        <a:defRPr sz="660" kern="1200">
          <a:solidFill>
            <a:schemeClr val="tx1"/>
          </a:solidFill>
          <a:latin typeface="+mn-lt"/>
          <a:ea typeface="+mn-ea"/>
          <a:cs typeface="+mn-cs"/>
        </a:defRPr>
      </a:lvl8pPr>
      <a:lvl9pPr marL="1300727" algn="l" defTabSz="325182" rtl="0" eaLnBrk="1" latinLnBrk="0" hangingPunct="1">
        <a:defRPr sz="6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3">
          <p15:clr>
            <a:srgbClr val="F26B43"/>
          </p15:clr>
        </p15:guide>
        <p15:guide id="2" pos="3426">
          <p15:clr>
            <a:srgbClr val="F26B43"/>
          </p15:clr>
        </p15:guide>
        <p15:guide id="3" pos="682">
          <p15:clr>
            <a:srgbClr val="F26B43"/>
          </p15:clr>
        </p15:guide>
        <p15:guide id="4" pos="6171">
          <p15:clr>
            <a:srgbClr val="F26B43"/>
          </p15:clr>
        </p15:guide>
        <p15:guide id="5" pos="274">
          <p15:clr>
            <a:srgbClr val="F26B43"/>
          </p15:clr>
        </p15:guide>
        <p15:guide id="6" pos="6579">
          <p15:clr>
            <a:srgbClr val="F26B43"/>
          </p15:clr>
        </p15:guide>
        <p15:guide id="7" orient="horz" pos="498">
          <p15:clr>
            <a:srgbClr val="F26B43"/>
          </p15:clr>
        </p15:guide>
        <p15:guide id="8" pos="4694">
          <p15:clr>
            <a:srgbClr val="F26B43"/>
          </p15:clr>
        </p15:guide>
        <p15:guide id="9" orient="horz" pos="3464">
          <p15:clr>
            <a:srgbClr val="F26B43"/>
          </p15:clr>
        </p15:guide>
        <p15:guide id="10" orient="horz" pos="814">
          <p15:clr>
            <a:srgbClr val="F26B43"/>
          </p15:clr>
        </p15:guide>
        <p15:guide id="11" pos="3608">
          <p15:clr>
            <a:srgbClr val="F26B43"/>
          </p15:clr>
        </p15:guide>
        <p15:guide id="12" pos="3245">
          <p15:clr>
            <a:srgbClr val="F26B43"/>
          </p15:clr>
        </p15:guide>
        <p15:guide id="13" orient="horz" pos="271">
          <p15:clr>
            <a:srgbClr val="F26B43"/>
          </p15:clr>
        </p15:guide>
        <p15:guide id="14" orient="horz" pos="1018">
          <p15:clr>
            <a:srgbClr val="F26B43"/>
          </p15:clr>
        </p15:guide>
        <p15:guide id="15" pos="16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Placeholder title 1"/>
          <p:cNvSpPr>
            <a:spLocks noGrp="1" noChangeArrowheads="1"/>
          </p:cNvSpPr>
          <p:nvPr>
            <p:ph type="title"/>
          </p:nvPr>
        </p:nvSpPr>
        <p:spPr bwMode="auto">
          <a:xfrm>
            <a:off x="315997" y="149115"/>
            <a:ext cx="11560010" cy="1309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  <a:endParaRPr lang="en-GB"/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86096" y="1960087"/>
            <a:ext cx="10222986" cy="3937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 level</a:t>
            </a:r>
            <a:endParaRPr lang="en-GB"/>
          </a:p>
          <a:p>
            <a:pPr lvl="6"/>
            <a:r>
              <a:rPr lang="en-GB" noProof="0" dirty="0"/>
              <a:t>7 level</a:t>
            </a:r>
            <a:endParaRPr lang="en-GB"/>
          </a:p>
          <a:p>
            <a:pPr lvl="7"/>
            <a:r>
              <a:rPr lang="en-GB" noProof="0" dirty="0"/>
              <a:t>8 level</a:t>
            </a:r>
            <a:endParaRPr lang="en-GB"/>
          </a:p>
          <a:p>
            <a:pPr lvl="8"/>
            <a:r>
              <a:rPr lang="en-GB" noProof="0" dirty="0"/>
              <a:t>9 level</a:t>
            </a:r>
            <a:endParaRPr lang="en-GB"/>
          </a:p>
        </p:txBody>
      </p:sp>
      <p:sp>
        <p:nvSpPr>
          <p:cNvPr id="23" name="Black Rectangle"/>
          <p:cNvSpPr/>
          <p:nvPr userDrawn="1"/>
        </p:nvSpPr>
        <p:spPr>
          <a:xfrm>
            <a:off x="989699" y="1663089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93" dirty="0"/>
          </a:p>
          <a:p>
            <a:pPr algn="ctr"/>
            <a:endParaRPr lang="en-GB" sz="3593" dirty="0"/>
          </a:p>
        </p:txBody>
      </p:sp>
      <p:sp>
        <p:nvSpPr>
          <p:cNvPr id="25" name="OFF_logo2Computed"/>
          <p:cNvSpPr txBox="1">
            <a:spLocks noChangeArrowheads="1"/>
          </p:cNvSpPr>
          <p:nvPr userDrawn="1"/>
        </p:nvSpPr>
        <p:spPr bwMode="auto">
          <a:xfrm>
            <a:off x="972271" y="5997601"/>
            <a:ext cx="2350657" cy="335633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26699" rIns="0" bIns="0">
            <a:spAutoFit/>
          </a:bodyPr>
          <a:lstStyle/>
          <a:p>
            <a:pPr>
              <a:lnSpc>
                <a:spcPct val="100000"/>
              </a:lnSpc>
              <a:defRPr/>
            </a:pPr>
            <a:endParaRPr lang="en-GB" sz="673" cap="all" spc="31" baseline="0" dirty="0">
              <a:solidFill>
                <a:schemeClr val="tx1"/>
              </a:solidFill>
              <a:latin typeface="+mn-lt"/>
            </a:endParaRPr>
          </a:p>
          <a:p>
            <a:pPr>
              <a:lnSpc>
                <a:spcPct val="100000"/>
              </a:lnSpc>
              <a:defRPr/>
            </a:pPr>
            <a:endParaRPr lang="en-GB" sz="673" cap="all" spc="31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30" name="Sidetal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811076" y="6580802"/>
            <a:ext cx="252067" cy="1156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ts val="900"/>
              </a:lnSpc>
              <a:buFontTx/>
              <a:buNone/>
              <a:defRPr sz="523" spc="31" baseline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2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7">
                <a:noFill/>
              </a:defRPr>
            </a:lvl1pPr>
          </a:lstStyle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3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7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4" name="OFF_logo1Computed">
            <a:extLst>
              <a:ext uri="{FF2B5EF4-FFF2-40B4-BE49-F238E27FC236}">
                <a16:creationId xmlns:a16="http://schemas.microsoft.com/office/drawing/2014/main" id="{460550A4-1BD9-7A4B-82D9-12C2CAA0609D}"/>
              </a:ext>
            </a:extLst>
          </p:cNvPr>
          <p:cNvSpPr/>
          <p:nvPr userDrawn="1"/>
        </p:nvSpPr>
        <p:spPr bwMode="auto">
          <a:xfrm>
            <a:off x="1035635" y="6026423"/>
            <a:ext cx="1399787" cy="442248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6957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6846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673" b="1" i="0" u="none" strike="noStrike" cap="all" normalizeH="0" baseline="0" noProof="1">
              <a:ln>
                <a:noFill/>
              </a:ln>
              <a:solidFill>
                <a:schemeClr val="tx1"/>
              </a:solidFill>
              <a:effectLst/>
              <a:latin typeface="AU Passata" pitchFamily="34" charset="0"/>
            </a:endParaRPr>
          </a:p>
          <a:p>
            <a:pPr marL="0" marR="0" indent="0" algn="l" defTabSz="6846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endParaRPr kumimoji="0" lang="en-GB" sz="673" b="1" i="0" u="none" strike="noStrike" cap="all" normalizeH="0" baseline="0" noProof="1">
              <a:ln>
                <a:noFill/>
              </a:ln>
              <a:solidFill>
                <a:schemeClr val="tx1"/>
              </a:solidFill>
              <a:effectLst/>
              <a:latin typeface="AU Passata" pitchFamily="34" charset="0"/>
            </a:endParaRPr>
          </a:p>
          <a:p>
            <a:pPr marL="0" marR="0" indent="0" algn="l" defTabSz="6846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673" b="1" i="0" u="none" strike="noStrike" cap="all" normalizeH="0" baseline="0" noProof="1">
                <a:ln>
                  <a:noFill/>
                </a:ln>
                <a:solidFill>
                  <a:schemeClr val="tx1"/>
                </a:solidFill>
                <a:effectLst/>
                <a:latin typeface="AU Passata" pitchFamily="34" charset="0"/>
              </a:rPr>
              <a:t>INSTITUT FOR STATSKUNDSKAB</a:t>
            </a:r>
          </a:p>
          <a:p>
            <a:pPr marL="0" marR="0" indent="0" algn="l" defTabSz="6846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U Passata" pitchFamily="34" charset="0"/>
              <a:buNone/>
              <a:tabLst/>
            </a:pPr>
            <a:r>
              <a:rPr kumimoji="0" lang="en-GB" sz="673" b="0" i="0" u="none" strike="noStrike" cap="all" normalizeH="0" baseline="0" noProof="1">
                <a:ln>
                  <a:noFill/>
                </a:ln>
                <a:solidFill>
                  <a:schemeClr val="tx1"/>
                </a:solidFill>
                <a:effectLst/>
                <a:latin typeface="AU Passata" pitchFamily="34" charset="0"/>
              </a:rPr>
              <a:t>AARHUS UNIVERSITET</a:t>
            </a:r>
          </a:p>
        </p:txBody>
      </p:sp>
      <p:pic>
        <p:nvPicPr>
          <p:cNvPr id="31" name="Billede 30">
            <a:extLst>
              <a:ext uri="{FF2B5EF4-FFF2-40B4-BE49-F238E27FC236}">
                <a16:creationId xmlns:a16="http://schemas.microsoft.com/office/drawing/2014/main" id="{4A3EA3D7-6180-C644-A353-4BB2C8445D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609"/>
          <a:stretch/>
        </p:blipFill>
        <p:spPr>
          <a:xfrm>
            <a:off x="282307" y="5986691"/>
            <a:ext cx="703789" cy="617051"/>
          </a:xfrm>
          <a:prstGeom prst="rect">
            <a:avLst/>
          </a:prstGeom>
        </p:spPr>
      </p:pic>
      <p:pic>
        <p:nvPicPr>
          <p:cNvPr id="26" name="Billede 25">
            <a:extLst>
              <a:ext uri="{FF2B5EF4-FFF2-40B4-BE49-F238E27FC236}">
                <a16:creationId xmlns:a16="http://schemas.microsoft.com/office/drawing/2014/main" id="{2B5AD45F-A2C0-9144-96AF-6230DA808F87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0154" y="5557206"/>
            <a:ext cx="4951780" cy="2043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748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79" r:id="rId12"/>
    <p:sldLayoutId id="2147483780" r:id="rId13"/>
    <p:sldLayoutId id="2147483781" r:id="rId14"/>
    <p:sldLayoutId id="2147483782" r:id="rId15"/>
    <p:sldLayoutId id="2147483783" r:id="rId16"/>
    <p:sldLayoutId id="2147483784" r:id="rId17"/>
    <p:sldLayoutId id="2147483785" r:id="rId18"/>
    <p:sldLayoutId id="2147483786" r:id="rId19"/>
    <p:sldLayoutId id="2147483787" r:id="rId20"/>
  </p:sldLayoutIdLst>
  <p:hf sldNum="0" hdr="0" ftr="0"/>
  <p:txStyles>
    <p:titleStyle>
      <a:lvl1pPr algn="l" rtl="0" eaLnBrk="1" fontAlgn="base" hangingPunct="1">
        <a:lnSpc>
          <a:spcPct val="89000"/>
        </a:lnSpc>
        <a:spcBef>
          <a:spcPct val="0"/>
        </a:spcBef>
        <a:spcAft>
          <a:spcPct val="0"/>
        </a:spcAft>
        <a:defRPr sz="3369" b="1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2996">
          <a:solidFill>
            <a:schemeClr val="bg2"/>
          </a:solidFill>
          <a:latin typeface="AU Passata" pitchFamily="34" charset="0"/>
        </a:defRPr>
      </a:lvl2pPr>
      <a:lvl3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2996">
          <a:solidFill>
            <a:schemeClr val="bg2"/>
          </a:solidFill>
          <a:latin typeface="AU Passata" pitchFamily="34" charset="0"/>
        </a:defRPr>
      </a:lvl3pPr>
      <a:lvl4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2996">
          <a:solidFill>
            <a:schemeClr val="bg2"/>
          </a:solidFill>
          <a:latin typeface="AU Passata" pitchFamily="34" charset="0"/>
        </a:defRPr>
      </a:lvl4pPr>
      <a:lvl5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2996">
          <a:solidFill>
            <a:schemeClr val="bg2"/>
          </a:solidFill>
          <a:latin typeface="AU Passata" pitchFamily="34" charset="0"/>
        </a:defRPr>
      </a:lvl5pPr>
      <a:lvl6pPr marL="342342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2996">
          <a:solidFill>
            <a:schemeClr val="bg2"/>
          </a:solidFill>
          <a:latin typeface="AU Passata" pitchFamily="34" charset="0"/>
        </a:defRPr>
      </a:lvl6pPr>
      <a:lvl7pPr marL="684678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2996">
          <a:solidFill>
            <a:schemeClr val="bg2"/>
          </a:solidFill>
          <a:latin typeface="AU Passata" pitchFamily="34" charset="0"/>
        </a:defRPr>
      </a:lvl7pPr>
      <a:lvl8pPr marL="102702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2996">
          <a:solidFill>
            <a:schemeClr val="bg2"/>
          </a:solidFill>
          <a:latin typeface="AU Passata" pitchFamily="34" charset="0"/>
        </a:defRPr>
      </a:lvl8pPr>
      <a:lvl9pPr marL="136936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2996">
          <a:solidFill>
            <a:schemeClr val="bg2"/>
          </a:solidFill>
          <a:latin typeface="AU Passata" pitchFamily="34" charset="0"/>
        </a:defRPr>
      </a:lvl9pPr>
    </p:titleStyle>
    <p:bodyStyle>
      <a:lvl1pPr marL="0" indent="0" algn="l" rtl="0" eaLnBrk="1" fontAlgn="base" hangingPunct="1">
        <a:lnSpc>
          <a:spcPct val="99000"/>
        </a:lnSpc>
        <a:spcBef>
          <a:spcPts val="450"/>
        </a:spcBef>
        <a:spcAft>
          <a:spcPct val="0"/>
        </a:spcAft>
        <a:buClr>
          <a:schemeClr val="tx1"/>
        </a:buClr>
        <a:buSzPct val="100000"/>
        <a:buFont typeface="Calibri" panose="020F0502020204030204" pitchFamily="34" charset="0"/>
        <a:buChar char="​"/>
        <a:defRPr sz="1498" b="0">
          <a:solidFill>
            <a:schemeClr val="tx1"/>
          </a:solidFill>
          <a:latin typeface="+mn-lt"/>
          <a:ea typeface="+mn-ea"/>
          <a:cs typeface="+mn-cs"/>
        </a:defRPr>
      </a:lvl1pPr>
      <a:lvl2pPr marL="323471" indent="-134779" algn="l" rtl="0" eaLnBrk="1" fontAlgn="base" hangingPunct="1">
        <a:lnSpc>
          <a:spcPct val="99000"/>
        </a:lnSpc>
        <a:spcBef>
          <a:spcPts val="45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98">
          <a:solidFill>
            <a:schemeClr val="tx1"/>
          </a:solidFill>
          <a:latin typeface="+mn-lt"/>
        </a:defRPr>
      </a:lvl2pPr>
      <a:lvl3pPr marL="566074" indent="-134779" algn="l" rtl="0" eaLnBrk="1" fontAlgn="base" hangingPunct="1">
        <a:lnSpc>
          <a:spcPct val="99000"/>
        </a:lnSpc>
        <a:spcBef>
          <a:spcPts val="45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98">
          <a:solidFill>
            <a:schemeClr val="tx1"/>
          </a:solidFill>
          <a:latin typeface="+mn-lt"/>
        </a:defRPr>
      </a:lvl3pPr>
      <a:lvl4pPr marL="862589" indent="-134779" algn="l" rtl="0" eaLnBrk="1" fontAlgn="base" hangingPunct="1">
        <a:lnSpc>
          <a:spcPct val="99000"/>
        </a:lnSpc>
        <a:spcBef>
          <a:spcPts val="45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98">
          <a:solidFill>
            <a:schemeClr val="tx1"/>
          </a:solidFill>
          <a:latin typeface="+mn-lt"/>
        </a:defRPr>
      </a:lvl4pPr>
      <a:lvl5pPr marL="1132148" indent="-134779" algn="l" rtl="0" eaLnBrk="1" fontAlgn="base" hangingPunct="1">
        <a:lnSpc>
          <a:spcPct val="99000"/>
        </a:lnSpc>
        <a:spcBef>
          <a:spcPts val="45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98">
          <a:solidFill>
            <a:schemeClr val="tx1"/>
          </a:solidFill>
          <a:latin typeface="+mn-lt"/>
        </a:defRPr>
      </a:lvl5pPr>
      <a:lvl6pPr marL="1374751" indent="-134779" algn="l" rtl="0" eaLnBrk="1" fontAlgn="base" hangingPunct="1">
        <a:lnSpc>
          <a:spcPct val="99000"/>
        </a:lnSpc>
        <a:spcBef>
          <a:spcPts val="45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498">
          <a:solidFill>
            <a:schemeClr val="tx1"/>
          </a:solidFill>
          <a:latin typeface="+mn-lt"/>
        </a:defRPr>
      </a:lvl6pPr>
      <a:lvl7pPr marL="1374751" indent="-134779" algn="l" rtl="0" eaLnBrk="1" fontAlgn="base" hangingPunct="1">
        <a:lnSpc>
          <a:spcPct val="99000"/>
        </a:lnSpc>
        <a:spcBef>
          <a:spcPts val="45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498">
          <a:solidFill>
            <a:schemeClr val="tx1"/>
          </a:solidFill>
          <a:latin typeface="+mn-lt"/>
        </a:defRPr>
      </a:lvl7pPr>
      <a:lvl8pPr marL="1374751" indent="-134779" algn="l" rtl="0" eaLnBrk="1" fontAlgn="base" hangingPunct="1">
        <a:lnSpc>
          <a:spcPct val="99000"/>
        </a:lnSpc>
        <a:spcBef>
          <a:spcPts val="45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498">
          <a:solidFill>
            <a:schemeClr val="tx1"/>
          </a:solidFill>
          <a:latin typeface="+mn-lt"/>
        </a:defRPr>
      </a:lvl8pPr>
      <a:lvl9pPr marL="1374751" indent="-134779" algn="l" rtl="0" eaLnBrk="1" fontAlgn="base" hangingPunct="1">
        <a:lnSpc>
          <a:spcPct val="99000"/>
        </a:lnSpc>
        <a:spcBef>
          <a:spcPts val="45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498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68467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342" algn="l" defTabSz="68467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4678" algn="l" defTabSz="68467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7020" algn="l" defTabSz="68467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69360" algn="l" defTabSz="68467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1701" algn="l" defTabSz="68467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4037" algn="l" defTabSz="68467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6379" algn="l" defTabSz="68467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38719" algn="l" defTabSz="68467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3096">
          <p15:clr>
            <a:srgbClr val="000000"/>
          </p15:clr>
        </p15:guide>
        <p15:guide id="5" orient="horz" pos="3443">
          <p15:clr>
            <a:srgbClr val="A4A3A4"/>
          </p15:clr>
        </p15:guide>
        <p15:guide id="6" pos="7479">
          <p15:clr>
            <a:srgbClr val="A4A3A4"/>
          </p15:clr>
        </p15:guide>
        <p15:guide id="7" orient="horz" pos="1028">
          <p15:clr>
            <a:srgbClr val="000000"/>
          </p15:clr>
        </p15:guide>
        <p15:guide id="8" pos="7059">
          <p15:clr>
            <a:srgbClr val="000000"/>
          </p15:clr>
        </p15:guide>
        <p15:guide id="9" pos="199">
          <p15:clr>
            <a:srgbClr val="A4A3A4"/>
          </p15:clr>
        </p15:guide>
        <p15:guide id="10" pos="621">
          <p15:clr>
            <a:srgbClr val="000000"/>
          </p15:clr>
        </p15:guide>
        <p15:guide id="11" orient="horz" pos="166">
          <p15:clr>
            <a:srgbClr val="A4A3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Placeholder title 1"/>
          <p:cNvSpPr>
            <a:spLocks noGrp="1" noChangeArrowheads="1"/>
          </p:cNvSpPr>
          <p:nvPr>
            <p:ph type="title"/>
          </p:nvPr>
        </p:nvSpPr>
        <p:spPr bwMode="auto">
          <a:xfrm>
            <a:off x="315996" y="149115"/>
            <a:ext cx="11560010" cy="1309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  <a:endParaRPr lang="en-GB"/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86097" y="1960079"/>
            <a:ext cx="10222987" cy="39374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 level</a:t>
            </a:r>
            <a:endParaRPr lang="en-GB"/>
          </a:p>
          <a:p>
            <a:pPr lvl="6"/>
            <a:r>
              <a:rPr lang="en-GB" noProof="0" dirty="0"/>
              <a:t>7 level</a:t>
            </a:r>
            <a:endParaRPr lang="en-GB"/>
          </a:p>
          <a:p>
            <a:pPr lvl="7"/>
            <a:r>
              <a:rPr lang="en-GB" noProof="0" dirty="0"/>
              <a:t>8 level</a:t>
            </a:r>
            <a:endParaRPr lang="en-GB"/>
          </a:p>
          <a:p>
            <a:pPr lvl="8"/>
            <a:r>
              <a:rPr lang="en-GB" noProof="0" dirty="0"/>
              <a:t>9 level</a:t>
            </a:r>
            <a:endParaRPr lang="en-GB"/>
          </a:p>
        </p:txBody>
      </p:sp>
      <p:sp>
        <p:nvSpPr>
          <p:cNvPr id="23" name="Black Rectangle"/>
          <p:cNvSpPr/>
          <p:nvPr userDrawn="1"/>
        </p:nvSpPr>
        <p:spPr>
          <a:xfrm>
            <a:off x="989698" y="1663088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0" dirty="0">
              <a:solidFill>
                <a:srgbClr val="FFFFFF"/>
              </a:solidFill>
            </a:endParaRPr>
          </a:p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0" dirty="0">
              <a:solidFill>
                <a:srgbClr val="FFFFFF"/>
              </a:solidFill>
            </a:endParaRPr>
          </a:p>
        </p:txBody>
      </p:sp>
      <p:sp>
        <p:nvSpPr>
          <p:cNvPr id="25" name="OFF_logo2Computed"/>
          <p:cNvSpPr txBox="1">
            <a:spLocks noChangeArrowheads="1"/>
          </p:cNvSpPr>
          <p:nvPr userDrawn="1"/>
        </p:nvSpPr>
        <p:spPr bwMode="auto">
          <a:xfrm>
            <a:off x="972256" y="5997600"/>
            <a:ext cx="2350657" cy="445030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68887" rIns="0" bIns="0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898" cap="all" spc="40" dirty="0">
              <a:solidFill>
                <a:srgbClr val="000000"/>
              </a:solidFill>
              <a:latin typeface="AU Passata"/>
            </a:endParaRP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898" cap="all" spc="40" dirty="0">
              <a:solidFill>
                <a:srgbClr val="000000"/>
              </a:solidFill>
              <a:latin typeface="AU Passata"/>
            </a:endParaRPr>
          </a:p>
        </p:txBody>
      </p:sp>
      <p:sp>
        <p:nvSpPr>
          <p:cNvPr id="1030" name="Sidetal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811076" y="6580800"/>
            <a:ext cx="25206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ts val="1198"/>
              </a:lnSpc>
              <a:buFontTx/>
              <a:buNone/>
              <a:defRPr sz="699" spc="40" baseline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2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dirty="0"/>
              <a:t>08/05/2018</a:t>
            </a:r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3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4" name="OFF_logo1Computed">
            <a:extLst>
              <a:ext uri="{FF2B5EF4-FFF2-40B4-BE49-F238E27FC236}">
                <a16:creationId xmlns:a16="http://schemas.microsoft.com/office/drawing/2014/main" id="{460550A4-1BD9-7A4B-82D9-12C2CAA0609D}"/>
              </a:ext>
            </a:extLst>
          </p:cNvPr>
          <p:cNvSpPr/>
          <p:nvPr userDrawn="1"/>
        </p:nvSpPr>
        <p:spPr bwMode="auto">
          <a:xfrm>
            <a:off x="972255" y="6007006"/>
            <a:ext cx="1866381" cy="590083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35933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00000"/>
              </a:lnSpc>
            </a:pPr>
            <a:endParaRPr lang="en-GB" sz="898" b="1" cap="all" noProof="1">
              <a:solidFill>
                <a:srgbClr val="000000"/>
              </a:solidFill>
            </a:endParaRPr>
          </a:p>
          <a:p>
            <a:pPr>
              <a:lnSpc>
                <a:spcPct val="100000"/>
              </a:lnSpc>
            </a:pPr>
            <a:endParaRPr lang="en-GB" sz="898" b="1" cap="all" noProof="1">
              <a:solidFill>
                <a:srgbClr val="000000"/>
              </a:solidFill>
            </a:endParaRPr>
          </a:p>
          <a:p>
            <a:pPr>
              <a:lnSpc>
                <a:spcPct val="100000"/>
              </a:lnSpc>
            </a:pPr>
            <a:r>
              <a:rPr lang="en-GB" sz="898" b="1" cap="all" noProof="1">
                <a:solidFill>
                  <a:srgbClr val="000000"/>
                </a:solidFill>
              </a:rPr>
              <a:t>INSTITUT FOR STATSKUNDSKAB</a:t>
            </a:r>
          </a:p>
          <a:p>
            <a:pPr>
              <a:lnSpc>
                <a:spcPct val="100000"/>
              </a:lnSpc>
            </a:pPr>
            <a:r>
              <a:rPr lang="en-GB" sz="898" cap="all" noProof="1">
                <a:solidFill>
                  <a:srgbClr val="000000"/>
                </a:solidFill>
              </a:rPr>
              <a:t>AARHUS UNIVERSITET</a:t>
            </a:r>
          </a:p>
        </p:txBody>
      </p:sp>
      <p:pic>
        <p:nvPicPr>
          <p:cNvPr id="31" name="Billede 30">
            <a:extLst>
              <a:ext uri="{FF2B5EF4-FFF2-40B4-BE49-F238E27FC236}">
                <a16:creationId xmlns:a16="http://schemas.microsoft.com/office/drawing/2014/main" id="{4A3EA3D7-6180-C644-A353-4BB2C8445D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609"/>
          <a:stretch/>
        </p:blipFill>
        <p:spPr>
          <a:xfrm>
            <a:off x="292046" y="5986691"/>
            <a:ext cx="632226" cy="618183"/>
          </a:xfrm>
          <a:prstGeom prst="rect">
            <a:avLst/>
          </a:prstGeom>
        </p:spPr>
      </p:pic>
      <p:pic>
        <p:nvPicPr>
          <p:cNvPr id="26" name="Billede 25">
            <a:extLst>
              <a:ext uri="{FF2B5EF4-FFF2-40B4-BE49-F238E27FC236}">
                <a16:creationId xmlns:a16="http://schemas.microsoft.com/office/drawing/2014/main" id="{2B5AD45F-A2C0-9144-96AF-6230DA808F87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512" y="5557204"/>
            <a:ext cx="3817419" cy="175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514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3802" r:id="rId14"/>
    <p:sldLayoutId id="2147483803" r:id="rId15"/>
    <p:sldLayoutId id="2147483804" r:id="rId16"/>
    <p:sldLayoutId id="2147483805" r:id="rId17"/>
    <p:sldLayoutId id="2147483806" r:id="rId18"/>
    <p:sldLayoutId id="2147483807" r:id="rId19"/>
    <p:sldLayoutId id="2147483808" r:id="rId20"/>
    <p:sldLayoutId id="2147483809" r:id="rId21"/>
  </p:sldLayoutIdLst>
  <p:hf sldNum="0" hdr="0" ftr="0"/>
  <p:txStyles>
    <p:titleStyle>
      <a:lvl1pPr algn="l" rtl="0" eaLnBrk="1" fontAlgn="base" hangingPunct="1">
        <a:lnSpc>
          <a:spcPct val="89000"/>
        </a:lnSpc>
        <a:spcBef>
          <a:spcPct val="0"/>
        </a:spcBef>
        <a:spcAft>
          <a:spcPct val="0"/>
        </a:spcAft>
        <a:defRPr sz="4491" b="1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2">
          <a:solidFill>
            <a:schemeClr val="bg2"/>
          </a:solidFill>
          <a:latin typeface="AU Passata" pitchFamily="34" charset="0"/>
        </a:defRPr>
      </a:lvl2pPr>
      <a:lvl3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2">
          <a:solidFill>
            <a:schemeClr val="bg2"/>
          </a:solidFill>
          <a:latin typeface="AU Passata" pitchFamily="34" charset="0"/>
        </a:defRPr>
      </a:lvl3pPr>
      <a:lvl4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2">
          <a:solidFill>
            <a:schemeClr val="bg2"/>
          </a:solidFill>
          <a:latin typeface="AU Passata" pitchFamily="34" charset="0"/>
        </a:defRPr>
      </a:lvl4pPr>
      <a:lvl5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2">
          <a:solidFill>
            <a:schemeClr val="bg2"/>
          </a:solidFill>
          <a:latin typeface="AU Passata" pitchFamily="34" charset="0"/>
        </a:defRPr>
      </a:lvl5pPr>
      <a:lvl6pPr marL="456332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2">
          <a:solidFill>
            <a:schemeClr val="bg2"/>
          </a:solidFill>
          <a:latin typeface="AU Passata" pitchFamily="34" charset="0"/>
        </a:defRPr>
      </a:lvl6pPr>
      <a:lvl7pPr marL="912663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2">
          <a:solidFill>
            <a:schemeClr val="bg2"/>
          </a:solidFill>
          <a:latin typeface="AU Passata" pitchFamily="34" charset="0"/>
        </a:defRPr>
      </a:lvl7pPr>
      <a:lvl8pPr marL="1368995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2">
          <a:solidFill>
            <a:schemeClr val="bg2"/>
          </a:solidFill>
          <a:latin typeface="AU Passata" pitchFamily="34" charset="0"/>
        </a:defRPr>
      </a:lvl8pPr>
      <a:lvl9pPr marL="1825324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2">
          <a:solidFill>
            <a:schemeClr val="bg2"/>
          </a:solidFill>
          <a:latin typeface="AU Passata" pitchFamily="34" charset="0"/>
        </a:defRPr>
      </a:lvl9pPr>
    </p:titleStyle>
    <p:bodyStyle>
      <a:lvl1pPr marL="0" indent="0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SzPct val="100000"/>
        <a:buFont typeface="Calibri" panose="020F0502020204030204" pitchFamily="34" charset="0"/>
        <a:buChar char="​"/>
        <a:defRPr sz="1996" b="0">
          <a:solidFill>
            <a:schemeClr val="tx1"/>
          </a:solidFill>
          <a:latin typeface="+mn-lt"/>
          <a:ea typeface="+mn-ea"/>
          <a:cs typeface="+mn-cs"/>
        </a:defRPr>
      </a:lvl1pPr>
      <a:lvl2pPr marL="431178" indent="-179658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996">
          <a:solidFill>
            <a:schemeClr val="tx1"/>
          </a:solidFill>
          <a:latin typeface="+mn-lt"/>
        </a:defRPr>
      </a:lvl2pPr>
      <a:lvl3pPr marL="754563" indent="-179658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996">
          <a:solidFill>
            <a:schemeClr val="tx1"/>
          </a:solidFill>
          <a:latin typeface="+mn-lt"/>
        </a:defRPr>
      </a:lvl3pPr>
      <a:lvl4pPr marL="1149811" indent="-179658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996">
          <a:solidFill>
            <a:schemeClr val="tx1"/>
          </a:solidFill>
          <a:latin typeface="+mn-lt"/>
        </a:defRPr>
      </a:lvl4pPr>
      <a:lvl5pPr marL="1509127" indent="-179658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996">
          <a:solidFill>
            <a:schemeClr val="tx1"/>
          </a:solidFill>
          <a:latin typeface="+mn-lt"/>
        </a:defRPr>
      </a:lvl5pPr>
      <a:lvl6pPr marL="1832512" indent="-179658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996">
          <a:solidFill>
            <a:schemeClr val="tx1"/>
          </a:solidFill>
          <a:latin typeface="+mn-lt"/>
        </a:defRPr>
      </a:lvl6pPr>
      <a:lvl7pPr marL="1832512" indent="-179658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996">
          <a:solidFill>
            <a:schemeClr val="tx1"/>
          </a:solidFill>
          <a:latin typeface="+mn-lt"/>
        </a:defRPr>
      </a:lvl7pPr>
      <a:lvl8pPr marL="1832512" indent="-179658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996">
          <a:solidFill>
            <a:schemeClr val="tx1"/>
          </a:solidFill>
          <a:latin typeface="+mn-lt"/>
        </a:defRPr>
      </a:lvl8pPr>
      <a:lvl9pPr marL="1832512" indent="-179658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996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26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1pPr>
      <a:lvl2pPr marL="456332" algn="l" defTabSz="9126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2pPr>
      <a:lvl3pPr marL="912663" algn="l" defTabSz="9126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3pPr>
      <a:lvl4pPr marL="1368995" algn="l" defTabSz="9126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4pPr>
      <a:lvl5pPr marL="1825324" algn="l" defTabSz="9126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5pPr>
      <a:lvl6pPr marL="2281656" algn="l" defTabSz="9126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6pPr>
      <a:lvl7pPr marL="2737987" algn="l" defTabSz="9126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7pPr>
      <a:lvl8pPr marL="3194319" algn="l" defTabSz="9126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8pPr>
      <a:lvl9pPr marL="3650651" algn="l" defTabSz="912663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15">
          <p15:clr>
            <a:srgbClr val="000000"/>
          </p15:clr>
        </p15:guide>
        <p15:guide id="2" orient="horz" pos="4131">
          <p15:clr>
            <a:srgbClr val="A4A3A4"/>
          </p15:clr>
        </p15:guide>
        <p15:guide id="3" pos="7479">
          <p15:clr>
            <a:srgbClr val="A4A3A4"/>
          </p15:clr>
        </p15:guide>
        <p15:guide id="4" orient="horz" pos="1234">
          <p15:clr>
            <a:srgbClr val="000000"/>
          </p15:clr>
        </p15:guide>
        <p15:guide id="5" pos="7059">
          <p15:clr>
            <a:srgbClr val="000000"/>
          </p15:clr>
        </p15:guide>
        <p15:guide id="6" pos="199">
          <p15:clr>
            <a:srgbClr val="A4A3A4"/>
          </p15:clr>
        </p15:guide>
        <p15:guide id="7" pos="621">
          <p15:clr>
            <a:srgbClr val="000000"/>
          </p15:clr>
        </p15:guide>
        <p15:guide id="8" orient="horz" pos="199">
          <p15:clr>
            <a:srgbClr val="A4A3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Placeholder title 1"/>
          <p:cNvSpPr>
            <a:spLocks noGrp="1" noChangeArrowheads="1"/>
          </p:cNvSpPr>
          <p:nvPr>
            <p:ph type="title"/>
          </p:nvPr>
        </p:nvSpPr>
        <p:spPr bwMode="auto">
          <a:xfrm>
            <a:off x="315996" y="149115"/>
            <a:ext cx="11560010" cy="1309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  <a:endParaRPr lang="en-GB"/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86096" y="1960079"/>
            <a:ext cx="10222987" cy="39374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 level</a:t>
            </a:r>
            <a:endParaRPr lang="en-GB"/>
          </a:p>
          <a:p>
            <a:pPr lvl="6"/>
            <a:r>
              <a:rPr lang="en-GB" noProof="0" dirty="0"/>
              <a:t>7 level</a:t>
            </a:r>
            <a:endParaRPr lang="en-GB"/>
          </a:p>
          <a:p>
            <a:pPr lvl="7"/>
            <a:r>
              <a:rPr lang="en-GB" noProof="0" dirty="0"/>
              <a:t>8 level</a:t>
            </a:r>
            <a:endParaRPr lang="en-GB"/>
          </a:p>
          <a:p>
            <a:pPr lvl="8"/>
            <a:r>
              <a:rPr lang="en-GB" noProof="0" dirty="0"/>
              <a:t>9 level</a:t>
            </a:r>
            <a:endParaRPr lang="en-GB"/>
          </a:p>
        </p:txBody>
      </p:sp>
      <p:sp>
        <p:nvSpPr>
          <p:cNvPr id="23" name="Black Rectangle"/>
          <p:cNvSpPr/>
          <p:nvPr userDrawn="1"/>
        </p:nvSpPr>
        <p:spPr>
          <a:xfrm>
            <a:off x="989698" y="1663088"/>
            <a:ext cx="648000" cy="4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1" dirty="0">
              <a:solidFill>
                <a:srgbClr val="FFFFFF"/>
              </a:solidFill>
            </a:endParaRPr>
          </a:p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GB" sz="4791" dirty="0">
              <a:solidFill>
                <a:srgbClr val="FFFFFF"/>
              </a:solidFill>
            </a:endParaRPr>
          </a:p>
        </p:txBody>
      </p:sp>
      <p:sp>
        <p:nvSpPr>
          <p:cNvPr id="25" name="OFF_logo2Computed"/>
          <p:cNvSpPr txBox="1">
            <a:spLocks noChangeArrowheads="1"/>
          </p:cNvSpPr>
          <p:nvPr userDrawn="1"/>
        </p:nvSpPr>
        <p:spPr bwMode="auto">
          <a:xfrm>
            <a:off x="972255" y="5997600"/>
            <a:ext cx="2350657" cy="445030"/>
          </a:xfrm>
          <a:prstGeom prst="rect">
            <a:avLst/>
          </a:prstGeom>
          <a:noFill/>
          <a:ln w="1778" algn="ctr">
            <a:noFill/>
            <a:miter lim="800000"/>
            <a:headEnd/>
            <a:tailEnd/>
          </a:ln>
          <a:effectLst/>
        </p:spPr>
        <p:txBody>
          <a:bodyPr wrap="square" lIns="0" tIns="168931" rIns="0" bIns="0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898" cap="all" spc="40" dirty="0">
              <a:solidFill>
                <a:srgbClr val="000000"/>
              </a:solidFill>
              <a:latin typeface="AU Passata"/>
            </a:endParaRP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GB" sz="898" cap="all" spc="40" dirty="0">
              <a:solidFill>
                <a:srgbClr val="000000"/>
              </a:solidFill>
              <a:latin typeface="AU Passata"/>
            </a:endParaRPr>
          </a:p>
        </p:txBody>
      </p:sp>
      <p:sp>
        <p:nvSpPr>
          <p:cNvPr id="1030" name="Sidetal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811076" y="6580800"/>
            <a:ext cx="25206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ts val="1198"/>
              </a:lnSpc>
              <a:buFontTx/>
              <a:buNone/>
              <a:defRPr sz="699" spc="40" baseline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E90C1E0A-682D-40DC-B1EA-26C007FDC330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2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E7B83056-E73A-4EB1-8793-61FB59C07FBC}" type="datetimeFigureOut">
              <a:rPr lang="en-GB" smtClean="0"/>
              <a:pPr/>
              <a:t>15/11/2022</a:t>
            </a:fld>
            <a:r>
              <a:rPr lang="en-GB" smtClean="0"/>
              <a:t>08/05/2018</a:t>
            </a:r>
            <a:endParaRPr lang="en-GB" dirty="0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3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4" name="OFF_logo1Computed">
            <a:extLst>
              <a:ext uri="{FF2B5EF4-FFF2-40B4-BE49-F238E27FC236}">
                <a16:creationId xmlns:a16="http://schemas.microsoft.com/office/drawing/2014/main" id="{460550A4-1BD9-7A4B-82D9-12C2CAA0609D}"/>
              </a:ext>
            </a:extLst>
          </p:cNvPr>
          <p:cNvSpPr/>
          <p:nvPr userDrawn="1"/>
        </p:nvSpPr>
        <p:spPr bwMode="auto">
          <a:xfrm>
            <a:off x="972254" y="6007004"/>
            <a:ext cx="1866381" cy="590092"/>
          </a:xfrm>
          <a:prstGeom prst="rect">
            <a:avLst/>
          </a:prstGeom>
          <a:noFill/>
          <a:ln w="1778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35942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00000"/>
              </a:lnSpc>
            </a:pPr>
            <a:endParaRPr lang="en-GB" sz="898" b="1" cap="all" noProof="1">
              <a:solidFill>
                <a:srgbClr val="000000"/>
              </a:solidFill>
            </a:endParaRPr>
          </a:p>
          <a:p>
            <a:pPr>
              <a:lnSpc>
                <a:spcPct val="100000"/>
              </a:lnSpc>
            </a:pPr>
            <a:endParaRPr lang="en-GB" sz="898" b="1" cap="all" noProof="1">
              <a:solidFill>
                <a:srgbClr val="000000"/>
              </a:solidFill>
            </a:endParaRPr>
          </a:p>
          <a:p>
            <a:pPr>
              <a:lnSpc>
                <a:spcPct val="100000"/>
              </a:lnSpc>
            </a:pPr>
            <a:r>
              <a:rPr lang="en-GB" sz="898" b="1" cap="all" noProof="1">
                <a:solidFill>
                  <a:srgbClr val="000000"/>
                </a:solidFill>
              </a:rPr>
              <a:t>INSTITUT FOR STATSKUNDSKAB</a:t>
            </a:r>
          </a:p>
          <a:p>
            <a:pPr>
              <a:lnSpc>
                <a:spcPct val="100000"/>
              </a:lnSpc>
            </a:pPr>
            <a:r>
              <a:rPr lang="en-GB" sz="898" cap="all" noProof="1">
                <a:solidFill>
                  <a:srgbClr val="000000"/>
                </a:solidFill>
              </a:rPr>
              <a:t>AARHUS UNIVERSITET</a:t>
            </a:r>
          </a:p>
        </p:txBody>
      </p:sp>
      <p:pic>
        <p:nvPicPr>
          <p:cNvPr id="31" name="Billede 30">
            <a:extLst>
              <a:ext uri="{FF2B5EF4-FFF2-40B4-BE49-F238E27FC236}">
                <a16:creationId xmlns:a16="http://schemas.microsoft.com/office/drawing/2014/main" id="{4A3EA3D7-6180-C644-A353-4BB2C8445D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609"/>
          <a:stretch/>
        </p:blipFill>
        <p:spPr>
          <a:xfrm>
            <a:off x="292046" y="5986689"/>
            <a:ext cx="632226" cy="618183"/>
          </a:xfrm>
          <a:prstGeom prst="rect">
            <a:avLst/>
          </a:prstGeom>
        </p:spPr>
      </p:pic>
      <p:pic>
        <p:nvPicPr>
          <p:cNvPr id="26" name="Billede 25">
            <a:extLst>
              <a:ext uri="{FF2B5EF4-FFF2-40B4-BE49-F238E27FC236}">
                <a16:creationId xmlns:a16="http://schemas.microsoft.com/office/drawing/2014/main" id="{2B5AD45F-A2C0-9144-96AF-6230DA808F87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511" y="5557202"/>
            <a:ext cx="3817419" cy="175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212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3" r:id="rId10"/>
    <p:sldLayoutId id="2147483834" r:id="rId11"/>
    <p:sldLayoutId id="2147483835" r:id="rId12"/>
    <p:sldLayoutId id="2147483836" r:id="rId13"/>
    <p:sldLayoutId id="2147483837" r:id="rId14"/>
    <p:sldLayoutId id="2147483838" r:id="rId15"/>
    <p:sldLayoutId id="2147483839" r:id="rId16"/>
    <p:sldLayoutId id="2147483840" r:id="rId17"/>
    <p:sldLayoutId id="2147483841" r:id="rId18"/>
    <p:sldLayoutId id="2147483842" r:id="rId19"/>
    <p:sldLayoutId id="2147483843" r:id="rId20"/>
  </p:sldLayoutIdLst>
  <p:hf sldNum="0" hdr="0" ftr="0"/>
  <p:txStyles>
    <p:titleStyle>
      <a:lvl1pPr algn="l" rtl="0" eaLnBrk="1" fontAlgn="base" hangingPunct="1">
        <a:lnSpc>
          <a:spcPct val="89000"/>
        </a:lnSpc>
        <a:spcBef>
          <a:spcPct val="0"/>
        </a:spcBef>
        <a:spcAft>
          <a:spcPct val="0"/>
        </a:spcAft>
        <a:defRPr sz="4492" b="1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3">
          <a:solidFill>
            <a:schemeClr val="bg2"/>
          </a:solidFill>
          <a:latin typeface="AU Passata" pitchFamily="34" charset="0"/>
        </a:defRPr>
      </a:lvl2pPr>
      <a:lvl3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3">
          <a:solidFill>
            <a:schemeClr val="bg2"/>
          </a:solidFill>
          <a:latin typeface="AU Passata" pitchFamily="34" charset="0"/>
        </a:defRPr>
      </a:lvl3pPr>
      <a:lvl4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3">
          <a:solidFill>
            <a:schemeClr val="bg2"/>
          </a:solidFill>
          <a:latin typeface="AU Passata" pitchFamily="34" charset="0"/>
        </a:defRPr>
      </a:lvl4pPr>
      <a:lvl5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3">
          <a:solidFill>
            <a:schemeClr val="bg2"/>
          </a:solidFill>
          <a:latin typeface="AU Passata" pitchFamily="34" charset="0"/>
        </a:defRPr>
      </a:lvl5pPr>
      <a:lvl6pPr marL="456468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3">
          <a:solidFill>
            <a:schemeClr val="bg2"/>
          </a:solidFill>
          <a:latin typeface="AU Passata" pitchFamily="34" charset="0"/>
        </a:defRPr>
      </a:lvl6pPr>
      <a:lvl7pPr marL="912937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3">
          <a:solidFill>
            <a:schemeClr val="bg2"/>
          </a:solidFill>
          <a:latin typeface="AU Passata" pitchFamily="34" charset="0"/>
        </a:defRPr>
      </a:lvl7pPr>
      <a:lvl8pPr marL="1369405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3">
          <a:solidFill>
            <a:schemeClr val="bg2"/>
          </a:solidFill>
          <a:latin typeface="AU Passata" pitchFamily="34" charset="0"/>
        </a:defRPr>
      </a:lvl8pPr>
      <a:lvl9pPr marL="1825873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993">
          <a:solidFill>
            <a:schemeClr val="bg2"/>
          </a:solidFill>
          <a:latin typeface="AU Passata" pitchFamily="34" charset="0"/>
        </a:defRPr>
      </a:lvl9pPr>
    </p:titleStyle>
    <p:bodyStyle>
      <a:lvl1pPr marL="0" indent="0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SzPct val="100000"/>
        <a:buFont typeface="Calibri" panose="020F0502020204030204" pitchFamily="34" charset="0"/>
        <a:buChar char="​"/>
        <a:defRPr sz="1997" b="0">
          <a:solidFill>
            <a:schemeClr val="tx1"/>
          </a:solidFill>
          <a:latin typeface="+mn-lt"/>
          <a:ea typeface="+mn-ea"/>
          <a:cs typeface="+mn-cs"/>
        </a:defRPr>
      </a:lvl1pPr>
      <a:lvl2pPr marL="431308" indent="-179712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2pPr>
      <a:lvl3pPr marL="754790" indent="-179712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3pPr>
      <a:lvl4pPr marL="1150156" indent="-179712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4pPr>
      <a:lvl5pPr marL="1509580" indent="-179712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5pPr>
      <a:lvl6pPr marL="1833062" indent="-179712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6pPr>
      <a:lvl7pPr marL="1833062" indent="-179712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7pPr>
      <a:lvl8pPr marL="1833062" indent="-179712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8pPr>
      <a:lvl9pPr marL="1833062" indent="-179712" algn="l" rtl="0" eaLnBrk="1" fontAlgn="base" hangingPunct="1">
        <a:lnSpc>
          <a:spcPct val="99000"/>
        </a:lnSpc>
        <a:spcBef>
          <a:spcPts val="599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997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293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468" algn="l" defTabSz="91293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2937" algn="l" defTabSz="91293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69405" algn="l" defTabSz="91293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5873" algn="l" defTabSz="91293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2341" algn="l" defTabSz="91293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38809" algn="l" defTabSz="91293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5277" algn="l" defTabSz="91293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1746" algn="l" defTabSz="912937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15">
          <p15:clr>
            <a:srgbClr val="000000"/>
          </p15:clr>
        </p15:guide>
        <p15:guide id="2" orient="horz" pos="4131">
          <p15:clr>
            <a:srgbClr val="A4A3A4"/>
          </p15:clr>
        </p15:guide>
        <p15:guide id="3" pos="7479">
          <p15:clr>
            <a:srgbClr val="A4A3A4"/>
          </p15:clr>
        </p15:guide>
        <p15:guide id="4" orient="horz" pos="1234">
          <p15:clr>
            <a:srgbClr val="000000"/>
          </p15:clr>
        </p15:guide>
        <p15:guide id="5" pos="7059">
          <p15:clr>
            <a:srgbClr val="000000"/>
          </p15:clr>
        </p15:guide>
        <p15:guide id="6" pos="199">
          <p15:clr>
            <a:srgbClr val="A4A3A4"/>
          </p15:clr>
        </p15:guide>
        <p15:guide id="7" pos="621">
          <p15:clr>
            <a:srgbClr val="000000"/>
          </p15:clr>
        </p15:guide>
        <p15:guide id="8" orient="horz" pos="199">
          <p15:clr>
            <a:srgbClr val="A4A3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1366837" y="872078"/>
            <a:ext cx="10137776" cy="82691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-DK" dirty="0"/>
              <a:t>Overskrift 28pt i max. to linjer </a:t>
            </a:r>
            <a:br>
              <a:rPr lang="da-DK" dirty="0"/>
            </a:br>
            <a:r>
              <a:rPr lang="da-DK" dirty="0"/>
              <a:t>teksten vokser opad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1366837" y="1993525"/>
            <a:ext cx="10137776" cy="34912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Brødtekst 22pt skrives h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504613" y="6288074"/>
            <a:ext cx="687386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lang="da-DK" sz="9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DAB5548-7253-48D6-B95B-F3D312A72220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Footer" hidden="1"/>
          <p:cNvSpPr>
            <a:spLocks noGrp="1"/>
          </p:cNvSpPr>
          <p:nvPr>
            <p:ph type="ftr" sz="quarter" idx="3"/>
          </p:nvPr>
        </p:nvSpPr>
        <p:spPr>
          <a:xfrm>
            <a:off x="0" y="68472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lang="da-DK" sz="100" kern="1200" dirty="0">
                <a:noFill/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4" name="Dato" hidden="1"/>
          <p:cNvSpPr>
            <a:spLocks noGrp="1"/>
          </p:cNvSpPr>
          <p:nvPr>
            <p:ph type="dt" sz="half" idx="2"/>
          </p:nvPr>
        </p:nvSpPr>
        <p:spPr>
          <a:xfrm>
            <a:off x="0" y="68472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">
                <a:noFill/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74143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rgbClr val="1F4A60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sz="2200" kern="1200" baseline="0">
          <a:solidFill>
            <a:srgbClr val="1F4A60"/>
          </a:solidFill>
          <a:latin typeface="+mn-lt"/>
          <a:ea typeface="+mn-ea"/>
          <a:cs typeface="+mn-cs"/>
        </a:defRPr>
      </a:lvl1pPr>
      <a:lvl2pPr marL="504000" indent="-144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2000" kern="1200" baseline="0" dirty="0" smtClean="0">
          <a:solidFill>
            <a:srgbClr val="1F4A60"/>
          </a:solidFill>
          <a:latin typeface="+mn-lt"/>
          <a:ea typeface="+mn-ea"/>
          <a:cs typeface="+mn-cs"/>
        </a:defRPr>
      </a:lvl2pPr>
      <a:lvl3pPr marL="828000" indent="-126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1800" kern="1200" dirty="0" smtClean="0">
          <a:solidFill>
            <a:srgbClr val="1F4A60"/>
          </a:solidFill>
          <a:latin typeface="+mn-lt"/>
          <a:ea typeface="+mn-ea"/>
          <a:cs typeface="+mn-cs"/>
        </a:defRPr>
      </a:lvl3pPr>
      <a:lvl4pPr marL="1188000" indent="-108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1600" kern="1200" dirty="0" smtClean="0">
          <a:solidFill>
            <a:srgbClr val="1F4A60"/>
          </a:solidFill>
          <a:latin typeface="+mn-lt"/>
          <a:ea typeface="+mn-ea"/>
          <a:cs typeface="+mn-cs"/>
        </a:defRPr>
      </a:lvl4pPr>
      <a:lvl5pPr marL="1548000" indent="-108000" algn="l" defTabSz="914400" rtl="0" eaLnBrk="1" latinLnBrk="0" hangingPunct="1">
        <a:spcBef>
          <a:spcPts val="0"/>
        </a:spcBef>
        <a:spcAft>
          <a:spcPts val="1200"/>
        </a:spcAft>
        <a:buClr>
          <a:schemeClr val="accent6"/>
        </a:buClr>
        <a:buFont typeface="Arial" panose="020B0604020202020204" pitchFamily="34" charset="0"/>
        <a:buChar char="•"/>
        <a:defRPr lang="da-DK" sz="1400" kern="1200" dirty="0" smtClean="0">
          <a:solidFill>
            <a:srgbClr val="1F4A60"/>
          </a:solidFill>
          <a:latin typeface="+mn-lt"/>
          <a:ea typeface="+mn-ea"/>
          <a:cs typeface="+mn-cs"/>
        </a:defRPr>
      </a:lvl5pPr>
      <a:lvl6pPr marL="190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7D7D7D"/>
        </a:buClr>
        <a:buFont typeface="Arial" panose="020B0604020202020204" pitchFamily="34" charset="0"/>
        <a:buChar char="•"/>
        <a:defRPr lang="da-DK" sz="1200" kern="1200" baseline="0" dirty="0">
          <a:solidFill>
            <a:srgbClr val="1F4A60"/>
          </a:solidFill>
          <a:latin typeface="+mn-lt"/>
          <a:ea typeface="+mn-ea"/>
          <a:cs typeface="+mn-cs"/>
        </a:defRPr>
      </a:lvl6pPr>
      <a:lvl7pPr marL="226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7D7D7D"/>
        </a:buClr>
        <a:buFont typeface="Arial" panose="020B0604020202020204" pitchFamily="34" charset="0"/>
        <a:buChar char="•"/>
        <a:defRPr lang="da-DK" sz="1100" kern="1200" baseline="0" dirty="0">
          <a:solidFill>
            <a:srgbClr val="1F4A60"/>
          </a:solidFill>
          <a:latin typeface="+mn-lt"/>
          <a:ea typeface="+mn-ea"/>
          <a:cs typeface="+mn-cs"/>
        </a:defRPr>
      </a:lvl7pPr>
      <a:lvl8pPr marL="262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7D7D7D"/>
        </a:buClr>
        <a:buFont typeface="Arial" panose="020B0604020202020204" pitchFamily="34" charset="0"/>
        <a:buChar char="•"/>
        <a:defRPr lang="da-DK" sz="1000" kern="1200" baseline="0" dirty="0">
          <a:solidFill>
            <a:srgbClr val="1F4A60"/>
          </a:solidFill>
          <a:latin typeface="+mn-lt"/>
          <a:ea typeface="+mn-ea"/>
          <a:cs typeface="+mn-cs"/>
        </a:defRPr>
      </a:lvl8pPr>
      <a:lvl9pPr marL="2988000" indent="-90000" algn="l" defTabSz="914400" rtl="0" eaLnBrk="1" latinLnBrk="0" hangingPunct="1">
        <a:spcBef>
          <a:spcPts val="0"/>
        </a:spcBef>
        <a:spcAft>
          <a:spcPts val="1200"/>
        </a:spcAft>
        <a:buClr>
          <a:srgbClr val="808080"/>
        </a:buClr>
        <a:buFont typeface="Arial" panose="020B0604020202020204" pitchFamily="34" charset="0"/>
        <a:buChar char="•"/>
        <a:defRPr sz="900" kern="1200">
          <a:solidFill>
            <a:srgbClr val="1F4A60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1071">
          <p15:clr>
            <a:srgbClr val="F26B43"/>
          </p15:clr>
        </p15:guide>
        <p15:guide id="6" orient="horz" pos="1253">
          <p15:clr>
            <a:srgbClr val="F26B43"/>
          </p15:clr>
        </p15:guide>
        <p15:guide id="7" orient="horz" pos="3455">
          <p15:clr>
            <a:srgbClr val="F26B43"/>
          </p15:clr>
        </p15:guide>
        <p15:guide id="10" pos="861">
          <p15:clr>
            <a:srgbClr val="F26B43"/>
          </p15:clr>
        </p15:guide>
        <p15:guide id="11" pos="7247">
          <p15:clr>
            <a:srgbClr val="F26B43"/>
          </p15:clr>
        </p15:guide>
        <p15:guide id="12" pos="3963">
          <p15:clr>
            <a:srgbClr val="F26B43"/>
          </p15:clr>
        </p15:guide>
        <p15:guide id="13" pos="41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9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9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7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openxmlformats.org/officeDocument/2006/relationships/image" Target="../media/image38.png"/><Relationship Id="rId3" Type="http://schemas.openxmlformats.org/officeDocument/2006/relationships/image" Target="../media/image35.png"/><Relationship Id="rId7" Type="http://schemas.openxmlformats.org/officeDocument/2006/relationships/diagramColors" Target="../diagrams/colors1.xml"/><Relationship Id="rId12" Type="http://schemas.openxmlformats.org/officeDocument/2006/relationships/image" Target="NUL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7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37.png"/><Relationship Id="rId5" Type="http://schemas.openxmlformats.org/officeDocument/2006/relationships/diagramLayout" Target="../diagrams/layout1.xml"/><Relationship Id="rId10" Type="http://schemas.openxmlformats.org/officeDocument/2006/relationships/image" Target="NULL"/><Relationship Id="rId4" Type="http://schemas.openxmlformats.org/officeDocument/2006/relationships/diagramData" Target="../diagrams/data1.xml"/><Relationship Id="rId9" Type="http://schemas.openxmlformats.org/officeDocument/2006/relationships/image" Target="../media/image36.png"/><Relationship Id="rId14" Type="http://schemas.openxmlformats.org/officeDocument/2006/relationships/image" Target="NUL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1</a:t>
            </a:fld>
            <a:endParaRPr lang="da-DK" dirty="0"/>
          </a:p>
        </p:txBody>
      </p:sp>
      <p:pic>
        <p:nvPicPr>
          <p:cNvPr id="5" name="Pladsholder til indhold 4"/>
          <p:cNvPicPr>
            <a:picLocks noGrp="1" noChangeAspect="1"/>
          </p:cNvPicPr>
          <p:nvPr>
            <p:ph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440" y="872716"/>
            <a:ext cx="10297144" cy="5632112"/>
          </a:xfrm>
        </p:spPr>
      </p:pic>
      <p:sp>
        <p:nvSpPr>
          <p:cNvPr id="7" name="Ellipse 6"/>
          <p:cNvSpPr/>
          <p:nvPr/>
        </p:nvSpPr>
        <p:spPr>
          <a:xfrm>
            <a:off x="5663952" y="1772816"/>
            <a:ext cx="3528392" cy="122413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dirty="0" err="1" smtClean="0"/>
          </a:p>
        </p:txBody>
      </p:sp>
      <p:sp>
        <p:nvSpPr>
          <p:cNvPr id="8" name="Tekstfelt 7"/>
          <p:cNvSpPr txBox="1"/>
          <p:nvPr/>
        </p:nvSpPr>
        <p:spPr>
          <a:xfrm>
            <a:off x="1991544" y="6504828"/>
            <a:ext cx="1440160" cy="31216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050" dirty="0" smtClean="0"/>
              <a:t>Kilde: WM 4 x 400 M 2007, Osaka. Japan. </a:t>
            </a:r>
            <a:endParaRPr lang="da-DK" dirty="0" smtClean="0"/>
          </a:p>
        </p:txBody>
      </p:sp>
    </p:spTree>
    <p:extLst>
      <p:ext uri="{BB962C8B-B14F-4D97-AF65-F5344CB8AC3E}">
        <p14:creationId xmlns:p14="http://schemas.microsoft.com/office/powerpoint/2010/main" val="358695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55148" y="332656"/>
            <a:ext cx="10137524" cy="576064"/>
          </a:xfrm>
        </p:spPr>
        <p:txBody>
          <a:bodyPr/>
          <a:lstStyle/>
          <a:p>
            <a:r>
              <a:rPr lang="da-DK" dirty="0" smtClean="0"/>
              <a:t>Centrale spændingsfelter </a:t>
            </a:r>
            <a:endParaRPr lang="da-DK" dirty="0"/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10</a:t>
            </a:fld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3"/>
          </p:nvPr>
        </p:nvSpPr>
        <p:spPr>
          <a:xfrm>
            <a:off x="1367999" y="1124744"/>
            <a:ext cx="10136614" cy="4860539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a-DK" sz="2000" b="1" dirty="0" smtClean="0"/>
              <a:t>For få incitamenter til at tænke samarbejde. (</a:t>
            </a:r>
            <a:r>
              <a:rPr lang="da-DK" sz="2000" dirty="0" smtClean="0"/>
              <a:t>Vi holder fast i en økonomisk tænkning knyttet til egen sektor.)</a:t>
            </a:r>
          </a:p>
          <a:p>
            <a:pPr marL="457200" indent="-457200">
              <a:buFont typeface="+mj-lt"/>
              <a:buAutoNum type="arabicPeriod"/>
            </a:pPr>
            <a:r>
              <a:rPr lang="da-DK" sz="2000" b="1" dirty="0" smtClean="0"/>
              <a:t>Uenighed om arbejdsmetoder og principper</a:t>
            </a:r>
            <a:r>
              <a:rPr lang="da-DK" sz="2000" dirty="0" smtClean="0"/>
              <a:t>. (konflikter der typisk skyldes forskelle i professionslogikker)</a:t>
            </a:r>
          </a:p>
          <a:p>
            <a:pPr marL="457200" indent="-457200">
              <a:buFont typeface="+mj-lt"/>
              <a:buAutoNum type="arabicPeriod"/>
            </a:pPr>
            <a:r>
              <a:rPr lang="da-DK" sz="2000" b="1" dirty="0" smtClean="0"/>
              <a:t>Forskelle parternes ønske til samarbejdsform. </a:t>
            </a:r>
            <a:r>
              <a:rPr lang="da-DK" sz="2000" dirty="0" smtClean="0"/>
              <a:t>(mødestruktur, hyppighed, m. fl.)</a:t>
            </a:r>
          </a:p>
          <a:p>
            <a:pPr marL="457200" indent="-457200">
              <a:buFont typeface="+mj-lt"/>
              <a:buAutoNum type="arabicPeriod"/>
            </a:pPr>
            <a:r>
              <a:rPr lang="da-DK" sz="2000" b="1" dirty="0" smtClean="0"/>
              <a:t>Uenighed om mål og vurderingskriterier</a:t>
            </a:r>
            <a:r>
              <a:rPr lang="da-DK" sz="2000" dirty="0" smtClean="0"/>
              <a:t>. (parters gensidige beklagelse over hinandens resultater/output)</a:t>
            </a:r>
          </a:p>
          <a:p>
            <a:pPr marL="457200" indent="-457200">
              <a:buFont typeface="+mj-lt"/>
              <a:buAutoNum type="arabicPeriod"/>
            </a:pPr>
            <a:r>
              <a:rPr lang="da-DK" sz="2000" b="1" dirty="0" smtClean="0"/>
              <a:t>Uenighed om, hvem der skal gøre hvad. </a:t>
            </a:r>
            <a:r>
              <a:rPr lang="da-DK" sz="2000" dirty="0" smtClean="0"/>
              <a:t>(domænekonflikter der typisk referer til uklar arbejdsdeling)</a:t>
            </a:r>
          </a:p>
          <a:p>
            <a:pPr marL="457200" indent="-457200">
              <a:buFont typeface="+mj-lt"/>
              <a:buAutoNum type="arabicPeriod"/>
            </a:pPr>
            <a:r>
              <a:rPr lang="da-DK" sz="2000" b="1" dirty="0" smtClean="0"/>
              <a:t>Formelle strukturelle, politiske-administrative barrierer</a:t>
            </a:r>
            <a:r>
              <a:rPr lang="da-DK" sz="2000" dirty="0" smtClean="0"/>
              <a:t>. (der budgetteres og administreres af forskellige instanser med hver deres regelsæt, som giver uhensigtsmæssige skel.)</a:t>
            </a:r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52975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Magt spiller ind..</a:t>
            </a:r>
            <a:endParaRPr lang="da-DK" dirty="0"/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11</a:t>
            </a:fld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a-DK" dirty="0" smtClean="0"/>
              <a:t>Magt i strukturen – hvem er størst?</a:t>
            </a:r>
          </a:p>
          <a:p>
            <a:r>
              <a:rPr lang="da-DK" dirty="0" smtClean="0"/>
              <a:t>Magt i fortællingen – Hvem siger mest?</a:t>
            </a:r>
          </a:p>
          <a:p>
            <a:r>
              <a:rPr lang="da-DK" dirty="0" smtClean="0"/>
              <a:t>Magt knyttet til personen – Hvem får tingene igennem?</a:t>
            </a:r>
          </a:p>
          <a:p>
            <a:endParaRPr lang="da-DK" dirty="0"/>
          </a:p>
          <a:p>
            <a:pPr marL="0" indent="0">
              <a:buNone/>
            </a:pPr>
            <a:r>
              <a:rPr lang="da-DK" dirty="0" smtClean="0"/>
              <a:t>Vi snakker ikke om det – men det er der hele tiden!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</p:txBody>
      </p:sp>
      <p:sp>
        <p:nvSpPr>
          <p:cNvPr id="6" name="Rektangel 5"/>
          <p:cNvSpPr/>
          <p:nvPr/>
        </p:nvSpPr>
        <p:spPr>
          <a:xfrm>
            <a:off x="1487488" y="4843720"/>
            <a:ext cx="1584176" cy="914400"/>
          </a:xfrm>
          <a:prstGeom prst="rect">
            <a:avLst/>
          </a:prstGeom>
          <a:solidFill>
            <a:srgbClr val="1F4A60"/>
          </a:solidFill>
          <a:ln w="9525">
            <a:solidFill>
              <a:srgbClr val="1F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a-DK" dirty="0" smtClean="0"/>
              <a:t>Personlig magt</a:t>
            </a:r>
          </a:p>
        </p:txBody>
      </p:sp>
      <p:sp>
        <p:nvSpPr>
          <p:cNvPr id="7" name="Rektangel 6"/>
          <p:cNvSpPr/>
          <p:nvPr/>
        </p:nvSpPr>
        <p:spPr>
          <a:xfrm>
            <a:off x="4943872" y="4843720"/>
            <a:ext cx="1512168" cy="914400"/>
          </a:xfrm>
          <a:prstGeom prst="rect">
            <a:avLst/>
          </a:prstGeom>
          <a:solidFill>
            <a:srgbClr val="1F4A60"/>
          </a:solidFill>
          <a:ln w="9525">
            <a:solidFill>
              <a:srgbClr val="1F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a-DK" dirty="0" smtClean="0"/>
              <a:t>Strukturel magt</a:t>
            </a:r>
          </a:p>
        </p:txBody>
      </p:sp>
      <p:sp>
        <p:nvSpPr>
          <p:cNvPr id="8" name="Højre-venstrepil 7"/>
          <p:cNvSpPr/>
          <p:nvPr/>
        </p:nvSpPr>
        <p:spPr>
          <a:xfrm>
            <a:off x="3287688" y="5058604"/>
            <a:ext cx="1432176" cy="484632"/>
          </a:xfrm>
          <a:prstGeom prst="leftRightArrow">
            <a:avLst/>
          </a:prstGeom>
          <a:solidFill>
            <a:srgbClr val="1F4A60"/>
          </a:solidFill>
          <a:ln w="9525">
            <a:solidFill>
              <a:srgbClr val="1F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dirty="0" err="1" smtClean="0"/>
          </a:p>
        </p:txBody>
      </p:sp>
    </p:spTree>
    <p:extLst>
      <p:ext uri="{BB962C8B-B14F-4D97-AF65-F5344CB8AC3E}">
        <p14:creationId xmlns:p14="http://schemas.microsoft.com/office/powerpoint/2010/main" val="2879263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Styrk den fælles opgave!</a:t>
            </a:r>
            <a:br>
              <a:rPr lang="da-DK" dirty="0" smtClean="0"/>
            </a:br>
            <a:endParaRPr lang="da-DK" dirty="0"/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12</a:t>
            </a:fld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3"/>
          </p:nvPr>
        </p:nvSpPr>
        <p:spPr>
          <a:xfrm>
            <a:off x="695400" y="1989138"/>
            <a:ext cx="10809213" cy="3996145"/>
          </a:xfrm>
        </p:spPr>
        <p:txBody>
          <a:bodyPr/>
          <a:lstStyle/>
          <a:p>
            <a:pPr marL="0" indent="0">
              <a:buNone/>
            </a:pPr>
            <a:endParaRPr lang="da-DK" dirty="0" smtClean="0"/>
          </a:p>
          <a:p>
            <a:pPr marL="0" indent="0">
              <a:buNone/>
            </a:pPr>
            <a:r>
              <a:rPr lang="da-DK" i="1" dirty="0"/>
              <a:t>Udnytter vi forskellighederne mellem faggrupper, afdelinger og organisationer optimalt – formår vi at skabe synergi mellem vores forskelligheder</a:t>
            </a:r>
            <a:r>
              <a:rPr lang="da-DK" i="1" dirty="0" smtClean="0"/>
              <a:t>?</a:t>
            </a:r>
          </a:p>
          <a:p>
            <a:pPr marL="0" indent="0">
              <a:buNone/>
            </a:pPr>
            <a:endParaRPr lang="da-DK" i="1" dirty="0"/>
          </a:p>
          <a:p>
            <a:pPr marL="0" indent="0">
              <a:buNone/>
            </a:pPr>
            <a:r>
              <a:rPr lang="da-DK" i="1" dirty="0" smtClean="0"/>
              <a:t>Hvad </a:t>
            </a:r>
            <a:r>
              <a:rPr lang="da-DK" i="1" dirty="0"/>
              <a:t>gør vi, når vi opdager, at ting ikke fungerer i det tværgående samarbejde – peger vi fingere, placerer skyld og vasker hænder, eller indgår vi i en problem- og løsningsfokuseret dialog</a:t>
            </a:r>
            <a:r>
              <a:rPr lang="da-DK" i="1" dirty="0" smtClean="0"/>
              <a:t>? </a:t>
            </a:r>
            <a:endParaRPr lang="da-DK" i="1" dirty="0"/>
          </a:p>
        </p:txBody>
      </p:sp>
    </p:spTree>
    <p:extLst>
      <p:ext uri="{BB962C8B-B14F-4D97-AF65-F5344CB8AC3E}">
        <p14:creationId xmlns:p14="http://schemas.microsoft.com/office/powerpoint/2010/main" val="2193802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67391" y="421013"/>
            <a:ext cx="10137524" cy="360040"/>
          </a:xfrm>
        </p:spPr>
        <p:txBody>
          <a:bodyPr/>
          <a:lstStyle/>
          <a:p>
            <a:r>
              <a:rPr lang="da-DK" sz="2400" dirty="0" smtClean="0"/>
              <a:t>Hvor er det vigtigste at starte?</a:t>
            </a:r>
            <a:endParaRPr lang="da-DK" sz="2400" dirty="0"/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13</a:t>
            </a:fld>
            <a:endParaRPr lang="da-DK" dirty="0"/>
          </a:p>
        </p:txBody>
      </p:sp>
      <p:graphicFrame>
        <p:nvGraphicFramePr>
          <p:cNvPr id="5" name="Pladsholder til indhold 4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086158157"/>
              </p:ext>
            </p:extLst>
          </p:nvPr>
        </p:nvGraphicFramePr>
        <p:xfrm>
          <a:off x="479375" y="836713"/>
          <a:ext cx="11521282" cy="58481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2289">
                  <a:extLst>
                    <a:ext uri="{9D8B030D-6E8A-4147-A177-3AD203B41FA5}">
                      <a16:colId xmlns:a16="http://schemas.microsoft.com/office/drawing/2014/main" val="2574846538"/>
                    </a:ext>
                  </a:extLst>
                </a:gridCol>
                <a:gridCol w="2520280">
                  <a:extLst>
                    <a:ext uri="{9D8B030D-6E8A-4147-A177-3AD203B41FA5}">
                      <a16:colId xmlns:a16="http://schemas.microsoft.com/office/drawing/2014/main" val="2313856699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3885828623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val="3896039516"/>
                    </a:ext>
                  </a:extLst>
                </a:gridCol>
                <a:gridCol w="1944217">
                  <a:extLst>
                    <a:ext uri="{9D8B030D-6E8A-4147-A177-3AD203B41FA5}">
                      <a16:colId xmlns:a16="http://schemas.microsoft.com/office/drawing/2014/main" val="871441689"/>
                    </a:ext>
                  </a:extLst>
                </a:gridCol>
              </a:tblGrid>
              <a:tr h="620906">
                <a:tc>
                  <a:txBody>
                    <a:bodyPr/>
                    <a:lstStyle/>
                    <a:p>
                      <a:r>
                        <a:rPr lang="da-DK" sz="1600" dirty="0" smtClean="0"/>
                        <a:t>Dialog ved bordene</a:t>
                      </a:r>
                      <a:endParaRPr lang="da-DK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 smtClean="0">
                          <a:solidFill>
                            <a:schemeClr val="tx1"/>
                          </a:solidFill>
                        </a:rPr>
                        <a:t>Etablering af opgave</a:t>
                      </a:r>
                      <a:endParaRPr lang="da-DK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 smtClean="0">
                          <a:solidFill>
                            <a:schemeClr val="tx1"/>
                          </a:solidFill>
                        </a:rPr>
                        <a:t>Samspillet om opgaven</a:t>
                      </a:r>
                      <a:endParaRPr lang="da-DK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 smtClean="0">
                          <a:solidFill>
                            <a:schemeClr val="tx1"/>
                          </a:solidFill>
                        </a:rPr>
                        <a:t>Håndtering af engagement</a:t>
                      </a:r>
                      <a:endParaRPr lang="da-DK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600" dirty="0" smtClean="0">
                          <a:solidFill>
                            <a:schemeClr val="tx1"/>
                          </a:solidFill>
                        </a:rPr>
                        <a:t>I skal lave en prøvehandling</a:t>
                      </a:r>
                      <a:endParaRPr lang="da-DK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4052786"/>
                  </a:ext>
                </a:extLst>
              </a:tr>
              <a:tr h="5227210">
                <a:tc>
                  <a:txBody>
                    <a:bodyPr/>
                    <a:lstStyle/>
                    <a:p>
                      <a:pPr marL="34290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da-DK" sz="1600" dirty="0" smtClean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rug to min. til at kigge</a:t>
                      </a:r>
                      <a:r>
                        <a:rPr lang="da-DK" sz="1600" baseline="0" dirty="0" smtClean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da-DK" sz="1600" dirty="0" smtClean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ørgsmålene igennem – udvælg det spørgsmål du finder </a:t>
                      </a:r>
                      <a:r>
                        <a:rPr lang="da-DK" sz="1600" b="1" i="1" dirty="0" smtClean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igtigst </a:t>
                      </a:r>
                    </a:p>
                    <a:p>
                      <a:pPr marL="34290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da-DK" sz="1600" dirty="0" smtClean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n af gangen deler I med hinanden; </a:t>
                      </a:r>
                      <a:r>
                        <a:rPr lang="da-DK" sz="1600" b="1" i="1" dirty="0" smtClean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vorfor </a:t>
                      </a:r>
                      <a:r>
                        <a:rPr lang="da-DK" sz="1600" dirty="0" smtClean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 har valgt det konkrete spørgsmål 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da-DK" sz="1600" dirty="0" smtClean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år runden er slut, er der mulighed for spørgsmål og </a:t>
                      </a:r>
                      <a:r>
                        <a:rPr lang="da-DK" sz="1800" dirty="0" smtClean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røftelse</a:t>
                      </a:r>
                      <a:endParaRPr lang="da-DK" dirty="0" smtClean="0"/>
                    </a:p>
                    <a:p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da-DK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vad er opgaven, </a:t>
                      </a:r>
                      <a:r>
                        <a:rPr lang="da-DK" sz="1600" b="0" u="sng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</a:t>
                      </a:r>
                      <a:r>
                        <a:rPr lang="da-DK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kal løfte? Hvorfor er den vigtig?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da-DK" sz="1600" b="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da-DK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vad er de konkrete mål og væsentligste aktiviteter?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da-DK" sz="1600" b="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da-DK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vem (fagligheder) skal være involveret for at opgaven kan håndter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da-DK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vordan får vi bedst muligt udnyttet vores forskellige kompetencer og ressourcer i arbejdet på tværs?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da-DK" sz="1600" b="1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da-DK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vilke metoder og værktøjer vil vi bruge til at understøtte koordineringen? 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da-DK" sz="1600" b="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da-DK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vordan vil vi sikre, at fokus på opgaven fastholdes? Hvordan og</a:t>
                      </a:r>
                      <a:r>
                        <a:rPr lang="da-DK" sz="1600" b="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a-DK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vornår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/Hvad er vores commitment til denne opgave på en skala fra 1-10?</a:t>
                      </a:r>
                    </a:p>
                    <a:p>
                      <a:endParaRPr lang="da-DK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 Hvordan håndterer vi opgavens indbyggede følelser af konkurrence (dagsordner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600" b="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 Hvad vil vi fejre? Hvordan vil vi fejr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600" b="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600" b="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endParaRPr lang="da-DK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da-DK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 skal vælge en af de udfordringer I sidder med.</a:t>
                      </a:r>
                    </a:p>
                    <a:p>
                      <a:pPr marL="0" indent="0">
                        <a:buNone/>
                      </a:pPr>
                      <a:endParaRPr lang="da-DK" sz="16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indent="0">
                        <a:buNone/>
                      </a:pPr>
                      <a:r>
                        <a:rPr lang="da-DK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ind på 3 måder, I kunne lave en prøvehandling på et element eller en hel opgave</a:t>
                      </a:r>
                    </a:p>
                    <a:p>
                      <a:endParaRPr lang="da-DK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1351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0944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14</a:t>
            </a:fld>
            <a:endParaRPr lang="da-DK" dirty="0"/>
          </a:p>
        </p:txBody>
      </p:sp>
      <p:pic>
        <p:nvPicPr>
          <p:cNvPr id="5" name="Pladsholder til indhold 4"/>
          <p:cNvPicPr>
            <a:picLocks noGrp="1" noChangeAspect="1"/>
          </p:cNvPicPr>
          <p:nvPr>
            <p:ph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440" y="872716"/>
            <a:ext cx="10297144" cy="4068452"/>
          </a:xfrm>
        </p:spPr>
      </p:pic>
      <p:sp>
        <p:nvSpPr>
          <p:cNvPr id="7" name="Ellipse 6"/>
          <p:cNvSpPr/>
          <p:nvPr/>
        </p:nvSpPr>
        <p:spPr>
          <a:xfrm>
            <a:off x="5663952" y="1772816"/>
            <a:ext cx="3528392" cy="122413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dirty="0" err="1" smtClean="0"/>
          </a:p>
        </p:txBody>
      </p:sp>
      <p:sp>
        <p:nvSpPr>
          <p:cNvPr id="8" name="Tekstfelt 7"/>
          <p:cNvSpPr txBox="1"/>
          <p:nvPr/>
        </p:nvSpPr>
        <p:spPr>
          <a:xfrm>
            <a:off x="1055440" y="4797152"/>
            <a:ext cx="1440160" cy="31216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050" dirty="0" smtClean="0"/>
              <a:t>Kilde: WM 4 x 400 M 2007, Osaka. Japan. </a:t>
            </a:r>
            <a:endParaRPr lang="da-DK" dirty="0" smtClean="0"/>
          </a:p>
        </p:txBody>
      </p:sp>
      <p:sp>
        <p:nvSpPr>
          <p:cNvPr id="4" name="Tekstfelt 3"/>
          <p:cNvSpPr txBox="1"/>
          <p:nvPr/>
        </p:nvSpPr>
        <p:spPr>
          <a:xfrm>
            <a:off x="1919536" y="5109314"/>
            <a:ext cx="669674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3200" b="1" dirty="0" smtClean="0"/>
              <a:t>Tak for nu og god arbejdslyst….</a:t>
            </a:r>
          </a:p>
        </p:txBody>
      </p:sp>
    </p:spTree>
    <p:extLst>
      <p:ext uri="{BB962C8B-B14F-4D97-AF65-F5344CB8AC3E}">
        <p14:creationId xmlns:p14="http://schemas.microsoft.com/office/powerpoint/2010/main" val="1878039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3832" y="2780928"/>
            <a:ext cx="7433549" cy="3240360"/>
          </a:xfrm>
        </p:spPr>
        <p:txBody>
          <a:bodyPr/>
          <a:lstStyle/>
          <a:p>
            <a:r>
              <a:rPr lang="da-DK" sz="2000" b="0" dirty="0" smtClean="0"/>
              <a:t>Oplæg ved Lars Bo Stenderup, Ledelseskonsulent og programansvarlig for Det Nationale Ledelsesprogram.</a:t>
            </a:r>
            <a:br>
              <a:rPr lang="da-DK" sz="2000" b="0" dirty="0" smtClean="0"/>
            </a:b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dirty="0"/>
              <a:t/>
            </a:r>
            <a:br>
              <a:rPr lang="da-DK" sz="2000" dirty="0"/>
            </a:br>
            <a:r>
              <a:rPr lang="da-DK" sz="2000" u="sng" dirty="0" smtClean="0"/>
              <a:t>Dagens agenda:</a:t>
            </a: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dirty="0" smtClean="0"/>
              <a:t>- Hvad er formålet med Det Nationale Ledelsesprogram på Sundhedsområdet 2.0 (2022-2026)?</a:t>
            </a:r>
            <a:br>
              <a:rPr lang="da-DK" sz="2000" dirty="0" smtClean="0"/>
            </a:b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dirty="0" smtClean="0"/>
              <a:t>- Hvad er det vigtigste at have fokus på - i det tværsektorielle samarbejde?</a:t>
            </a: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 smtClean="0"/>
              <a:t/>
            </a:r>
            <a:br>
              <a:rPr lang="da-DK" sz="2000" dirty="0" smtClean="0"/>
            </a:br>
            <a:endParaRPr lang="da-DK" sz="2000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4583832" y="980728"/>
            <a:ext cx="6912769" cy="888504"/>
          </a:xfrm>
        </p:spPr>
        <p:txBody>
          <a:bodyPr/>
          <a:lstStyle/>
          <a:p>
            <a:r>
              <a:rPr lang="da-DK" b="1" i="1" dirty="0" smtClean="0"/>
              <a:t>Odense 21. november.</a:t>
            </a:r>
          </a:p>
          <a:p>
            <a:r>
              <a:rPr lang="da-DK" b="1" i="1" dirty="0" smtClean="0"/>
              <a:t>Børn og Unge med spiseforstyrrelser – et fælles ansvar</a:t>
            </a:r>
            <a:endParaRPr lang="da-DK" b="1" i="1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9152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9D688C97-9B41-464B-BE80-BF433B0F21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037F98F8-F887-4DFD-BB51-60567DC7B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C84DF3B-67A8-49E1-B8F2-8BCCC02A8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Programmets formål</a:t>
            </a:r>
            <a:endParaRPr lang="da-DK" dirty="0"/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CC9B5B04-05C2-45C9-A01B-09756318402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366836" y="2006069"/>
            <a:ext cx="5377236" cy="2431043"/>
          </a:xfrm>
        </p:spPr>
        <p:txBody>
          <a:bodyPr/>
          <a:lstStyle/>
          <a:p>
            <a:r>
              <a:rPr lang="da-DK" sz="2000" dirty="0"/>
              <a:t>at klæde ledere fra sundhedsområdet </a:t>
            </a:r>
            <a:r>
              <a:rPr lang="da-DK" sz="2000" dirty="0" smtClean="0"/>
              <a:t>på, </a:t>
            </a:r>
            <a:r>
              <a:rPr lang="da-DK" sz="2000" dirty="0"/>
              <a:t>til </a:t>
            </a:r>
            <a:r>
              <a:rPr lang="da-DK" sz="2000" dirty="0" smtClean="0"/>
              <a:t>datainformeret ledelse af </a:t>
            </a:r>
            <a:r>
              <a:rPr lang="da-DK" sz="2000" dirty="0"/>
              <a:t>forbedringsarbejde på tværs af regioner, kommuner og almen praksis med patient og borger i </a:t>
            </a:r>
            <a:r>
              <a:rPr lang="da-DK" sz="2000" dirty="0" smtClean="0"/>
              <a:t>fokus. </a:t>
            </a:r>
            <a:endParaRPr lang="da-DK" sz="2000" dirty="0"/>
          </a:p>
          <a:p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C29BE0F-DD87-41D5-B27B-4C2E2BD25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7EC89C-17A0-4E64-A6D2-B825673CEEDF}" type="slidenum">
              <a:rPr kumimoji="0" lang="da-DK" sz="900" b="1" i="0" u="none" strike="noStrike" kern="1200" cap="none" spc="0" normalizeH="0" baseline="0" noProof="0" smtClean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a-DK" sz="900" b="1" i="0" u="none" strike="noStrike" kern="1200" cap="none" spc="0" normalizeH="0" baseline="0" noProof="0" dirty="0">
              <a:ln>
                <a:noFill/>
              </a:ln>
              <a:solidFill>
                <a:srgbClr val="B3B3B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Billed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4152" y="1995744"/>
            <a:ext cx="4762500" cy="3600450"/>
          </a:xfrm>
          <a:prstGeom prst="rect">
            <a:avLst/>
          </a:prstGeom>
        </p:spPr>
      </p:pic>
      <p:sp>
        <p:nvSpPr>
          <p:cNvPr id="9" name="Tekstfelt 8"/>
          <p:cNvSpPr txBox="1"/>
          <p:nvPr/>
        </p:nvSpPr>
        <p:spPr>
          <a:xfrm>
            <a:off x="7536160" y="5329975"/>
            <a:ext cx="3384376" cy="72053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splash</a:t>
            </a:r>
            <a:r>
              <a:rPr kumimoji="0" lang="da-DK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Kristopher Roller</a:t>
            </a:r>
          </a:p>
        </p:txBody>
      </p:sp>
    </p:spTree>
    <p:extLst>
      <p:ext uri="{BB962C8B-B14F-4D97-AF65-F5344CB8AC3E}">
        <p14:creationId xmlns:p14="http://schemas.microsoft.com/office/powerpoint/2010/main" val="3147539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E05EED09-7B7D-4389-B7B5-44DAEDCBF9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A05B967B-FFCA-4AF2-87DA-723D338090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1BC23AC-7FA9-4342-AC60-AC4FED6D13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6836" y="872078"/>
            <a:ext cx="5737276" cy="828730"/>
          </a:xfrm>
        </p:spPr>
        <p:txBody>
          <a:bodyPr/>
          <a:lstStyle/>
          <a:p>
            <a:r>
              <a:rPr lang="da-DK" dirty="0"/>
              <a:t>Ambition </a:t>
            </a:r>
            <a:br>
              <a:rPr lang="da-DK" dirty="0"/>
            </a:br>
            <a:r>
              <a:rPr lang="da-DK" dirty="0"/>
              <a:t>– </a:t>
            </a:r>
            <a:r>
              <a:rPr lang="da-DK" dirty="0" smtClean="0"/>
              <a:t>at skabe en </a:t>
            </a:r>
            <a:r>
              <a:rPr lang="da-DK" dirty="0"/>
              <a:t>national ‘VI’ bevægelse på sundhedsområdet</a:t>
            </a:r>
          </a:p>
        </p:txBody>
      </p:sp>
      <p:pic>
        <p:nvPicPr>
          <p:cNvPr id="8" name="Pladsholder til billede 7"/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3" b="1613"/>
          <a:stretch>
            <a:fillRect/>
          </a:stretch>
        </p:blipFill>
        <p:spPr/>
      </p:pic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0D675C6C-8089-47F7-B4ED-81F9B1E3B8A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366836" y="2006069"/>
            <a:ext cx="5737276" cy="4498759"/>
          </a:xfrm>
        </p:spPr>
        <p:txBody>
          <a:bodyPr/>
          <a:lstStyle/>
          <a:p>
            <a:pPr marL="285693" indent="-285693"/>
            <a:r>
              <a:rPr lang="da-DK" sz="1800" dirty="0">
                <a:ea typeface="Calibri" panose="020F0502020204030204" pitchFamily="34" charset="0"/>
                <a:cs typeface="Calibri" panose="020F0502020204030204" pitchFamily="34" charset="0"/>
              </a:rPr>
              <a:t>Tværsektorielle/tværgående borger/patientforløb bliver styrket og forbedret</a:t>
            </a:r>
          </a:p>
          <a:p>
            <a:pPr marL="285693" indent="-285693"/>
            <a:r>
              <a:rPr lang="da-DK" sz="1800" dirty="0">
                <a:ea typeface="Calibri" panose="020F0502020204030204" pitchFamily="34" charset="0"/>
                <a:cs typeface="Calibri" panose="020F0502020204030204" pitchFamily="34" charset="0"/>
              </a:rPr>
              <a:t>Deltagerne opnår en større kapacitet til at lede forbedringer på tværs af sektorer og i egen organisation </a:t>
            </a:r>
          </a:p>
          <a:p>
            <a:pPr marL="285693" indent="-285693"/>
            <a:r>
              <a:rPr lang="da-DK" sz="1800" dirty="0">
                <a:ea typeface="Calibri" panose="020F0502020204030204" pitchFamily="34" charset="0"/>
                <a:cs typeface="Calibri" panose="020F0502020204030204" pitchFamily="34" charset="0"/>
              </a:rPr>
              <a:t>Styrkelse af kompetencer og tilgang for i fællesskab at arbejde med fremtidens velfærdsudfordringer</a:t>
            </a:r>
          </a:p>
          <a:p>
            <a:pPr marL="285693" indent="-285693"/>
            <a:r>
              <a:rPr lang="da-DK" sz="1800" dirty="0">
                <a:ea typeface="Calibri" panose="020F0502020204030204" pitchFamily="34" charset="0"/>
                <a:cs typeface="Calibri" panose="020F0502020204030204" pitchFamily="34" charset="0"/>
              </a:rPr>
              <a:t>Opmærksomhed på, at sundhed i bred forstand omfatter det fysiske, psykiske og sociale, det forebyggende og det sundhedsfremmende</a:t>
            </a:r>
          </a:p>
          <a:p>
            <a:pPr marL="285693" indent="-285693"/>
            <a:r>
              <a:rPr lang="da-DK" sz="1800" dirty="0">
                <a:ea typeface="Calibri" panose="020F0502020204030204" pitchFamily="34" charset="0"/>
                <a:cs typeface="Calibri" panose="020F0502020204030204" pitchFamily="34" charset="0"/>
              </a:rPr>
              <a:t>Deltagerne bliver klædt på til at være spydspidser for udbredelsen af en forbedringskultur, der skaber værdi for borgere/patienter og mere arbejdsglæde for personalet</a:t>
            </a:r>
          </a:p>
          <a:p>
            <a:endParaRPr lang="da-DK" sz="1800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FE1E4392-C8A0-431A-82FC-87F6A50180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7EC89C-17A0-4E64-A6D2-B825673CEEDF}" type="slidenum">
              <a:rPr kumimoji="0" lang="da-DK" sz="900" b="1" i="0" u="none" strike="noStrike" kern="1200" cap="none" spc="0" normalizeH="0" baseline="0" noProof="0" smtClean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a-DK" sz="900" b="1" i="0" u="none" strike="noStrike" kern="1200" cap="none" spc="0" normalizeH="0" baseline="0" noProof="0" dirty="0">
              <a:ln>
                <a:noFill/>
              </a:ln>
              <a:solidFill>
                <a:srgbClr val="B3B3B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Billede 9" descr="Et billede, der indeholder tekst&#10;&#10;Automatisk genereret beskrivelse">
            <a:extLst>
              <a:ext uri="{FF2B5EF4-FFF2-40B4-BE49-F238E27FC236}">
                <a16:creationId xmlns:a16="http://schemas.microsoft.com/office/drawing/2014/main" id="{0C5BEB6E-573F-4A38-9160-A14B976D17D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158298"/>
            <a:ext cx="2488772" cy="341752"/>
          </a:xfrm>
          <a:prstGeom prst="rect">
            <a:avLst/>
          </a:prstGeom>
        </p:spPr>
      </p:pic>
      <p:sp>
        <p:nvSpPr>
          <p:cNvPr id="11" name="Tekstfelt 10"/>
          <p:cNvSpPr txBox="1"/>
          <p:nvPr/>
        </p:nvSpPr>
        <p:spPr>
          <a:xfrm>
            <a:off x="7536160" y="6597352"/>
            <a:ext cx="2304256" cy="3600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splash</a:t>
            </a:r>
            <a:r>
              <a:rPr kumimoji="0" lang="da-DK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Deniz Altindas</a:t>
            </a:r>
          </a:p>
        </p:txBody>
      </p:sp>
    </p:spTree>
    <p:extLst>
      <p:ext uri="{BB962C8B-B14F-4D97-AF65-F5344CB8AC3E}">
        <p14:creationId xmlns:p14="http://schemas.microsoft.com/office/powerpoint/2010/main" val="991672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Fakta om </a:t>
            </a:r>
            <a:r>
              <a:rPr lang="da-DK" dirty="0" smtClean="0"/>
              <a:t>programmet 2.0 </a:t>
            </a:r>
            <a:endParaRPr lang="da-DK" dirty="0"/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7EC89C-17A0-4E64-A6D2-B825673CEEDF}" type="slidenum">
              <a:rPr kumimoji="0" lang="da-DK" sz="900" b="1" i="0" u="none" strike="noStrike" kern="1200" cap="none" spc="0" normalizeH="0" baseline="0" noProof="0" smtClean="0">
                <a:ln>
                  <a:noFill/>
                </a:ln>
                <a:solidFill>
                  <a:srgbClr val="B3B3B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a-DK" sz="900" b="1" i="0" u="none" strike="noStrike" kern="1200" cap="none" spc="0" normalizeH="0" baseline="0" noProof="0" dirty="0">
              <a:ln>
                <a:noFill/>
              </a:ln>
              <a:solidFill>
                <a:srgbClr val="B3B3B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457109" indent="-457109"/>
            <a:r>
              <a:rPr lang="da-DK" sz="2000" dirty="0" smtClean="0"/>
              <a:t>Der afvikles 4 hold med plads til 200 deltagere pr. hold (2022-2026)</a:t>
            </a:r>
          </a:p>
          <a:p>
            <a:pPr marL="457109" indent="-457109"/>
            <a:r>
              <a:rPr lang="da-DK" sz="2000" dirty="0" smtClean="0"/>
              <a:t>Deltagere og forbedringsinitiativerne udvælges af Sundhedsklyngerne </a:t>
            </a:r>
            <a:endParaRPr lang="da-DK" sz="2000" dirty="0"/>
          </a:p>
          <a:p>
            <a:pPr marL="457109" indent="-457109"/>
            <a:r>
              <a:rPr lang="da-DK" sz="2000" dirty="0"/>
              <a:t>Deltagerne er afsted 7 dage på et mix af internater og eksternater</a:t>
            </a:r>
          </a:p>
          <a:p>
            <a:pPr marL="457109" indent="-457109"/>
            <a:r>
              <a:rPr lang="da-DK" sz="2000" dirty="0"/>
              <a:t>Deltagerne leder deres </a:t>
            </a:r>
            <a:r>
              <a:rPr lang="da-DK" sz="2000" dirty="0" smtClean="0"/>
              <a:t>forbedringsinitiativ </a:t>
            </a:r>
            <a:r>
              <a:rPr lang="da-DK" sz="2000" dirty="0"/>
              <a:t>og der er </a:t>
            </a:r>
            <a:r>
              <a:rPr lang="da-DK" sz="2000" dirty="0" smtClean="0"/>
              <a:t>et </a:t>
            </a:r>
            <a:r>
              <a:rPr lang="da-DK" sz="2000" dirty="0"/>
              <a:t>særligt fokus på afprøvning og implementering </a:t>
            </a:r>
            <a:r>
              <a:rPr lang="da-DK" sz="2000" dirty="0" smtClean="0"/>
              <a:t>på tværs og i egne organisationer  </a:t>
            </a:r>
            <a:endParaRPr lang="da-DK" sz="2000" dirty="0"/>
          </a:p>
          <a:p>
            <a:pPr marL="457109" indent="-457109"/>
            <a:r>
              <a:rPr lang="da-DK" sz="2000" dirty="0"/>
              <a:t>Deltagernes ledelsesarbejde af forbedringsindsatsen bliver understøttet af aktivitetstilbud </a:t>
            </a:r>
            <a:r>
              <a:rPr lang="da-DK" sz="2000" dirty="0" smtClean="0"/>
              <a:t>i og </a:t>
            </a:r>
            <a:r>
              <a:rPr lang="da-DK" sz="2000" dirty="0"/>
              <a:t>en </a:t>
            </a:r>
            <a:r>
              <a:rPr lang="da-DK" sz="2000" dirty="0" smtClean="0"/>
              <a:t>sparringspartner i </a:t>
            </a:r>
            <a:r>
              <a:rPr lang="da-DK" sz="2000" dirty="0"/>
              <a:t>hele programmets længde</a:t>
            </a:r>
          </a:p>
          <a:p>
            <a:pPr marL="457109" indent="-457109"/>
            <a:r>
              <a:rPr lang="da-DK" sz="2000" dirty="0"/>
              <a:t>Programmet udvikles og drives af parterne selv på </a:t>
            </a:r>
            <a:r>
              <a:rPr lang="da-DK" sz="2000" dirty="0" smtClean="0"/>
              <a:t>sundhedsområdet</a:t>
            </a:r>
            <a:endParaRPr lang="da-DK" sz="2000" dirty="0"/>
          </a:p>
          <a:p>
            <a:r>
              <a:rPr lang="da-DK" sz="2000" dirty="0" smtClean="0"/>
              <a:t>   Hold 1. er i gang pt. med 160 ledere, 42 forbedringsinitiativer (12 i R-syd) </a:t>
            </a:r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1951734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63132" y="476672"/>
            <a:ext cx="10137524" cy="828000"/>
          </a:xfrm>
        </p:spPr>
        <p:txBody>
          <a:bodyPr/>
          <a:lstStyle/>
          <a:p>
            <a:r>
              <a:rPr lang="da-DK" dirty="0"/>
              <a:t>Det Nationale Ledelsesprogram</a:t>
            </a:r>
            <a:br>
              <a:rPr lang="da-DK" dirty="0"/>
            </a:br>
            <a:r>
              <a:rPr lang="da-DK" sz="2000" dirty="0"/>
              <a:t>- et 10-måneders forløb med fokus på ledelse af forbedringer i praksis</a:t>
            </a:r>
          </a:p>
        </p:txBody>
      </p:sp>
      <p:cxnSp>
        <p:nvCxnSpPr>
          <p:cNvPr id="8" name="Lige pilforbindelse 7"/>
          <p:cNvCxnSpPr>
            <a:cxnSpLocks/>
            <a:stCxn id="11" idx="2"/>
          </p:cNvCxnSpPr>
          <p:nvPr/>
        </p:nvCxnSpPr>
        <p:spPr bwMode="auto">
          <a:xfrm flipV="1">
            <a:off x="1838260" y="1890890"/>
            <a:ext cx="10140114" cy="6498"/>
          </a:xfrm>
          <a:prstGeom prst="straightConnector1">
            <a:avLst/>
          </a:prstGeom>
          <a:ln w="44450">
            <a:headEnd type="none" w="med" len="med"/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1" name="Ellipse 10"/>
          <p:cNvSpPr/>
          <p:nvPr/>
        </p:nvSpPr>
        <p:spPr>
          <a:xfrm>
            <a:off x="1838260" y="1807410"/>
            <a:ext cx="179958" cy="179958"/>
          </a:xfrm>
          <a:prstGeom prst="ellipse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srgbClr val="3F301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kstfelt 11"/>
          <p:cNvSpPr txBox="1"/>
          <p:nvPr/>
        </p:nvSpPr>
        <p:spPr>
          <a:xfrm>
            <a:off x="1802804" y="1418460"/>
            <a:ext cx="1059661" cy="3077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ptember</a:t>
            </a:r>
          </a:p>
        </p:txBody>
      </p:sp>
      <p:sp>
        <p:nvSpPr>
          <p:cNvPr id="13" name="Afrundet rektangel 12"/>
          <p:cNvSpPr/>
          <p:nvPr/>
        </p:nvSpPr>
        <p:spPr>
          <a:xfrm>
            <a:off x="1987246" y="2152092"/>
            <a:ext cx="1372450" cy="2428770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kab fundamentet!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tionalt afsæ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delse af </a:t>
            </a:r>
            <a: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bedringsinitiativet</a:t>
            </a: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ål og må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ganisatorisk </a:t>
            </a: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enh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Afrundet rektangel 13"/>
          <p:cNvSpPr/>
          <p:nvPr/>
        </p:nvSpPr>
        <p:spPr>
          <a:xfrm>
            <a:off x="3431705" y="2155813"/>
            <a:ext cx="1497458" cy="244805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æt </a:t>
            </a:r>
            <a:endParaRPr kumimoji="0" lang="da-DK" sz="1400" b="1" i="1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ldet</a:t>
            </a:r>
            <a:r>
              <a:rPr kumimoji="0" lang="da-DK" sz="1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!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delse på </a:t>
            </a:r>
            <a: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væ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ntificering af centrale arbejdsgange</a:t>
            </a: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‘</a:t>
            </a: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smaller Why</a:t>
            </a:r>
            <a: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’</a:t>
            </a: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ganisering </a:t>
            </a: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f </a:t>
            </a:r>
            <a: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tivet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Afrundet rektangel 16"/>
          <p:cNvSpPr/>
          <p:nvPr/>
        </p:nvSpPr>
        <p:spPr>
          <a:xfrm>
            <a:off x="10776520" y="2116785"/>
            <a:ext cx="1294761" cy="244805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æng rammerne!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ater, inspiration </a:t>
            </a:r>
            <a: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g </a:t>
            </a: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alo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skalering </a:t>
            </a: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g </a:t>
            </a:r>
            <a: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edn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ganisatoriske sammenhæng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kstfelt 17"/>
          <p:cNvSpPr txBox="1"/>
          <p:nvPr/>
        </p:nvSpPr>
        <p:spPr>
          <a:xfrm>
            <a:off x="8029175" y="1480659"/>
            <a:ext cx="731121" cy="3077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nuar</a:t>
            </a:r>
          </a:p>
        </p:txBody>
      </p:sp>
      <p:sp>
        <p:nvSpPr>
          <p:cNvPr id="19" name="Tekstfelt 18"/>
          <p:cNvSpPr txBox="1"/>
          <p:nvPr/>
        </p:nvSpPr>
        <p:spPr>
          <a:xfrm>
            <a:off x="11018219" y="1488684"/>
            <a:ext cx="513163" cy="3077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ni</a:t>
            </a:r>
          </a:p>
        </p:txBody>
      </p:sp>
      <p:sp>
        <p:nvSpPr>
          <p:cNvPr id="20" name="Ellipse 19"/>
          <p:cNvSpPr/>
          <p:nvPr/>
        </p:nvSpPr>
        <p:spPr>
          <a:xfrm>
            <a:off x="8332002" y="1800911"/>
            <a:ext cx="179958" cy="179958"/>
          </a:xfrm>
          <a:prstGeom prst="ellipse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srgbClr val="3F301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Afrundet rektangel 12">
            <a:extLst>
              <a:ext uri="{FF2B5EF4-FFF2-40B4-BE49-F238E27FC236}">
                <a16:creationId xmlns:a16="http://schemas.microsoft.com/office/drawing/2014/main" id="{599FD3DE-9542-457F-9218-1D3E1C161253}"/>
              </a:ext>
            </a:extLst>
          </p:cNvPr>
          <p:cNvSpPr/>
          <p:nvPr/>
        </p:nvSpPr>
        <p:spPr>
          <a:xfrm>
            <a:off x="155547" y="2183961"/>
            <a:ext cx="1764955" cy="4095422"/>
          </a:xfrm>
          <a:prstGeom prst="round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udsætning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gaver i sundhedsklyng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gaver i egen organis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gaver til programdeltag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" name="Gruppe 2">
            <a:extLst>
              <a:ext uri="{FF2B5EF4-FFF2-40B4-BE49-F238E27FC236}">
                <a16:creationId xmlns:a16="http://schemas.microsoft.com/office/drawing/2014/main" id="{1F22B0BC-6CC6-C6CC-4E84-8CA591A5CAF0}"/>
              </a:ext>
            </a:extLst>
          </p:cNvPr>
          <p:cNvGrpSpPr/>
          <p:nvPr/>
        </p:nvGrpSpPr>
        <p:grpSpPr>
          <a:xfrm>
            <a:off x="8328248" y="2132856"/>
            <a:ext cx="2376264" cy="2448051"/>
            <a:chOff x="6240016" y="2132856"/>
            <a:chExt cx="4149582" cy="2448051"/>
          </a:xfrm>
        </p:grpSpPr>
        <p:sp>
          <p:nvSpPr>
            <p:cNvPr id="15" name="Afrundet rektangel 14"/>
            <p:cNvSpPr/>
            <p:nvPr/>
          </p:nvSpPr>
          <p:spPr>
            <a:xfrm>
              <a:off x="6240016" y="2132856"/>
              <a:ext cx="4149582" cy="2448051"/>
            </a:xfrm>
            <a:prstGeom prst="round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0" r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fprøvningsfase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delse af forbedringsarbejdet</a:t>
              </a:r>
              <a:b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i lokal praksi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8" name="Pladsholder til indhold 13">
              <a:extLst>
                <a:ext uri="{FF2B5EF4-FFF2-40B4-BE49-F238E27FC236}">
                  <a16:creationId xmlns:a16="http://schemas.microsoft.com/office/drawing/2014/main" id="{DC3455FC-14A2-4441-B993-F0C5697B362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78806" y="3062080"/>
              <a:ext cx="1503996" cy="1202567"/>
            </a:xfrm>
            <a:prstGeom prst="rect">
              <a:avLst/>
            </a:prstGeom>
          </p:spPr>
        </p:pic>
        <p:graphicFrame>
          <p:nvGraphicFramePr>
            <p:cNvPr id="29" name="Diagram 28">
              <a:extLst>
                <a:ext uri="{FF2B5EF4-FFF2-40B4-BE49-F238E27FC236}">
                  <a16:creationId xmlns:a16="http://schemas.microsoft.com/office/drawing/2014/main" id="{D54A4405-53B2-46EB-9A2F-C8467061E00B}"/>
                </a:ext>
              </a:extLst>
            </p:cNvPr>
            <p:cNvGraphicFramePr/>
            <p:nvPr>
              <p:extLst/>
            </p:nvPr>
          </p:nvGraphicFramePr>
          <p:xfrm>
            <a:off x="6930076" y="3082649"/>
            <a:ext cx="1392731" cy="136601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" r:lo="rId5" r:qs="rId6" r:cs="rId7"/>
            </a:graphicData>
          </a:graphic>
        </p:graphicFrame>
      </p:grpSp>
      <p:sp>
        <p:nvSpPr>
          <p:cNvPr id="7" name="Tekstfelt 6">
            <a:extLst>
              <a:ext uri="{FF2B5EF4-FFF2-40B4-BE49-F238E27FC236}">
                <a16:creationId xmlns:a16="http://schemas.microsoft.com/office/drawing/2014/main" id="{4D095EE5-7DBA-4573-A9A3-5E6B7C4199E7}"/>
              </a:ext>
            </a:extLst>
          </p:cNvPr>
          <p:cNvSpPr txBox="1"/>
          <p:nvPr/>
        </p:nvSpPr>
        <p:spPr>
          <a:xfrm>
            <a:off x="264702" y="1413243"/>
            <a:ext cx="1147805" cy="3077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bruar-juni</a:t>
            </a:r>
          </a:p>
        </p:txBody>
      </p:sp>
      <p:sp>
        <p:nvSpPr>
          <p:cNvPr id="25" name="Pentagon 24"/>
          <p:cNvSpPr/>
          <p:nvPr/>
        </p:nvSpPr>
        <p:spPr>
          <a:xfrm>
            <a:off x="2018218" y="4828022"/>
            <a:ext cx="10053063" cy="421497"/>
          </a:xfrm>
          <a:prstGeom prst="homePlate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rger/patientinddragelse</a:t>
            </a:r>
          </a:p>
        </p:txBody>
      </p:sp>
      <p:sp>
        <p:nvSpPr>
          <p:cNvPr id="30" name="Pentagon 29"/>
          <p:cNvSpPr/>
          <p:nvPr/>
        </p:nvSpPr>
        <p:spPr>
          <a:xfrm>
            <a:off x="2018218" y="5342954"/>
            <a:ext cx="10053063" cy="421497"/>
          </a:xfrm>
          <a:prstGeom prst="homePlate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delse på tværs af sektorer</a:t>
            </a:r>
          </a:p>
        </p:txBody>
      </p:sp>
      <p:sp>
        <p:nvSpPr>
          <p:cNvPr id="31" name="Pentagon 30"/>
          <p:cNvSpPr/>
          <p:nvPr/>
        </p:nvSpPr>
        <p:spPr>
          <a:xfrm>
            <a:off x="2018218" y="5857885"/>
            <a:ext cx="10053063" cy="421497"/>
          </a:xfrm>
          <a:prstGeom prst="homePlate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delse af struktur og kultur</a:t>
            </a:r>
          </a:p>
        </p:txBody>
      </p:sp>
      <p:sp>
        <p:nvSpPr>
          <p:cNvPr id="26" name="Afrundet rektangel 13">
            <a:extLst>
              <a:ext uri="{FF2B5EF4-FFF2-40B4-BE49-F238E27FC236}">
                <a16:creationId xmlns:a16="http://schemas.microsoft.com/office/drawing/2014/main" id="{C956EBF0-F656-450D-15E0-21634BA4ADF9}"/>
              </a:ext>
            </a:extLst>
          </p:cNvPr>
          <p:cNvSpPr/>
          <p:nvPr/>
        </p:nvSpPr>
        <p:spPr>
          <a:xfrm>
            <a:off x="6679419" y="2132856"/>
            <a:ext cx="1576821" cy="244805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ing </a:t>
            </a:r>
            <a:r>
              <a:rPr kumimoji="0" lang="da-DK" sz="1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da-DK" sz="1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a-DK" sz="1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d</a:t>
            </a:r>
            <a:r>
              <a:rPr kumimoji="0" lang="da-DK" sz="1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!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y in </a:t>
            </a:r>
            <a: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</a:t>
            </a: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vledel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holdelsespla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ganisatorisk </a:t>
            </a: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menhængskraf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Afrundet rektangel 13">
            <a:extLst>
              <a:ext uri="{FF2B5EF4-FFF2-40B4-BE49-F238E27FC236}">
                <a16:creationId xmlns:a16="http://schemas.microsoft.com/office/drawing/2014/main" id="{BDA83CBB-12FE-3E24-3264-6FEDC017CF43}"/>
              </a:ext>
            </a:extLst>
          </p:cNvPr>
          <p:cNvSpPr/>
          <p:nvPr/>
        </p:nvSpPr>
        <p:spPr>
          <a:xfrm>
            <a:off x="5015880" y="2132856"/>
            <a:ext cx="1576821" cy="2448051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il </a:t>
            </a:r>
            <a:endParaRPr kumimoji="0" lang="da-DK" sz="1400" b="1" i="1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karpt</a:t>
            </a:r>
            <a:r>
              <a:rPr kumimoji="0" lang="da-DK" sz="1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! </a:t>
            </a:r>
            <a:endParaRPr kumimoji="0" lang="da-DK" sz="1400" b="1" i="1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delse af struktur </a:t>
            </a:r>
            <a: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g </a:t>
            </a: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ultu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v </a:t>
            </a: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shops med metoder, værktøjer </a:t>
            </a:r>
            <a: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g deb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solidering af  tværgående organisering</a:t>
            </a: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Ellipse 31" descr="Børn"/>
          <p:cNvSpPr/>
          <p:nvPr/>
        </p:nvSpPr>
        <p:spPr>
          <a:xfrm>
            <a:off x="2122274" y="4869160"/>
            <a:ext cx="445334" cy="445334"/>
          </a:xfrm>
          <a:prstGeom prst="ellipse">
            <a:avLst/>
          </a:prstGeom>
          <a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3" name="Ellipse 32" descr="Forbindelser"/>
          <p:cNvSpPr/>
          <p:nvPr/>
        </p:nvSpPr>
        <p:spPr>
          <a:xfrm>
            <a:off x="2122274" y="5332836"/>
            <a:ext cx="445334" cy="445334"/>
          </a:xfrm>
          <a:prstGeom prst="ellipse">
            <a:avLst/>
          </a:prstGeom>
          <a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4" name="Ellipse 33" descr="Bobler"/>
          <p:cNvSpPr/>
          <p:nvPr/>
        </p:nvSpPr>
        <p:spPr>
          <a:xfrm>
            <a:off x="2122274" y="5847768"/>
            <a:ext cx="445334" cy="445334"/>
          </a:xfrm>
          <a:prstGeom prst="ellipse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4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1825100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15480" y="620688"/>
            <a:ext cx="10137524" cy="828000"/>
          </a:xfrm>
        </p:spPr>
        <p:txBody>
          <a:bodyPr/>
          <a:lstStyle/>
          <a:p>
            <a:r>
              <a:rPr lang="da-DK" altLang="da-DK" sz="4800" b="0" dirty="0">
                <a:solidFill>
                  <a:prstClr val="black"/>
                </a:solidFill>
                <a:latin typeface="Arial" charset="0"/>
                <a:cs typeface="Arial" charset="0"/>
              </a:rPr>
              <a:t>Ord skaber virkeligheder!</a:t>
            </a:r>
            <a:endParaRPr lang="da-DK" dirty="0"/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7</a:t>
            </a:fld>
            <a:endParaRPr lang="da-DK" dirty="0"/>
          </a:p>
        </p:txBody>
      </p:sp>
      <p:pic>
        <p:nvPicPr>
          <p:cNvPr id="5" name="Pladsholder til indhold 4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2063553" y="3140968"/>
            <a:ext cx="4536503" cy="2733259"/>
          </a:xfrm>
          <a:prstGeom prst="rect">
            <a:avLst/>
          </a:prstGeom>
        </p:spPr>
      </p:pic>
      <p:sp>
        <p:nvSpPr>
          <p:cNvPr id="6" name="Rektangel 5"/>
          <p:cNvSpPr/>
          <p:nvPr/>
        </p:nvSpPr>
        <p:spPr>
          <a:xfrm>
            <a:off x="1559496" y="2420888"/>
            <a:ext cx="964907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da-DK" altLang="da-DK" sz="2800" dirty="0">
                <a:solidFill>
                  <a:prstClr val="black"/>
                </a:solidFill>
                <a:latin typeface="Arial" charset="0"/>
                <a:cs typeface="Arial" charset="0"/>
              </a:rPr>
              <a:t>Arbejder du med snitflader eller samarbejdsrum??</a:t>
            </a:r>
          </a:p>
        </p:txBody>
      </p:sp>
      <p:pic>
        <p:nvPicPr>
          <p:cNvPr id="7" name="Billed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2064" y="3140968"/>
            <a:ext cx="4567435" cy="273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494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8</a:t>
            </a:fld>
            <a:endParaRPr lang="da-DK" dirty="0"/>
          </a:p>
        </p:txBody>
      </p:sp>
      <p:pic>
        <p:nvPicPr>
          <p:cNvPr id="5" name="Pladsholder til indhold 4"/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343472" y="872716"/>
            <a:ext cx="9793088" cy="5112159"/>
          </a:xfrm>
          <a:prstGeom prst="rect">
            <a:avLst/>
          </a:prstGeom>
        </p:spPr>
      </p:pic>
      <p:sp>
        <p:nvSpPr>
          <p:cNvPr id="7" name="Tekstfelt 6"/>
          <p:cNvSpPr txBox="1"/>
          <p:nvPr/>
        </p:nvSpPr>
        <p:spPr>
          <a:xfrm>
            <a:off x="1347452" y="5984875"/>
            <a:ext cx="381642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a-DK" sz="1200" dirty="0" smtClean="0"/>
              <a:t>Kilde: Elmholdt &amp; Fogsgaard, 2014</a:t>
            </a:r>
          </a:p>
        </p:txBody>
      </p:sp>
    </p:spTree>
    <p:extLst>
      <p:ext uri="{BB962C8B-B14F-4D97-AF65-F5344CB8AC3E}">
        <p14:creationId xmlns:p14="http://schemas.microsoft.com/office/powerpoint/2010/main" val="4247477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67391" y="476672"/>
            <a:ext cx="10137524" cy="648072"/>
          </a:xfrm>
        </p:spPr>
        <p:txBody>
          <a:bodyPr/>
          <a:lstStyle/>
          <a:p>
            <a:r>
              <a:rPr lang="da-DK" dirty="0"/>
              <a:t>3 praksisser der skaber samarbejdsrum</a:t>
            </a: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9</a:t>
            </a:fld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3"/>
          </p:nvPr>
        </p:nvSpPr>
        <p:spPr>
          <a:xfrm>
            <a:off x="1367999" y="1700716"/>
            <a:ext cx="10136614" cy="4804112"/>
          </a:xfrm>
        </p:spPr>
        <p:txBody>
          <a:bodyPr/>
          <a:lstStyle/>
          <a:p>
            <a:pPr lvl="0"/>
            <a:r>
              <a:rPr lang="da-DK" sz="2400" dirty="0"/>
              <a:t>bidrager til gensidig </a:t>
            </a:r>
            <a:r>
              <a:rPr lang="da-DK" sz="2400" b="1" i="1" dirty="0"/>
              <a:t>tryghed, tillid og respekt </a:t>
            </a:r>
            <a:r>
              <a:rPr lang="da-DK" sz="2400" dirty="0"/>
              <a:t>mellem de personer, afdelinger og organisationer, der </a:t>
            </a:r>
            <a:r>
              <a:rPr lang="da-DK" sz="2400" dirty="0" smtClean="0"/>
              <a:t>samarbejder </a:t>
            </a:r>
            <a:r>
              <a:rPr lang="da-DK" sz="2400" i="1" dirty="0" smtClean="0"/>
              <a:t>(grænsepraksisser</a:t>
            </a:r>
            <a:r>
              <a:rPr lang="da-DK" sz="2400" i="1" dirty="0"/>
              <a:t>),</a:t>
            </a:r>
          </a:p>
          <a:p>
            <a:pPr marL="0" indent="0">
              <a:buNone/>
            </a:pPr>
            <a:endParaRPr lang="da-DK" sz="2400" i="1" dirty="0"/>
          </a:p>
          <a:p>
            <a:pPr lvl="0"/>
            <a:r>
              <a:rPr lang="da-DK" sz="2400" dirty="0"/>
              <a:t>etablerer sammen de </a:t>
            </a:r>
            <a:r>
              <a:rPr lang="da-DK" sz="2400" b="1" i="1" dirty="0"/>
              <a:t>nødvendige infrastrukturer </a:t>
            </a:r>
            <a:r>
              <a:rPr lang="da-DK" sz="2400" dirty="0"/>
              <a:t>(ex. mødefora) – disse fungerer som konkretisering/operationalisering af samarbejdsrummet </a:t>
            </a:r>
            <a:r>
              <a:rPr lang="da-DK" sz="2400" i="1" dirty="0"/>
              <a:t>(fællesskabende praksis),</a:t>
            </a:r>
          </a:p>
          <a:p>
            <a:pPr marL="0" indent="0">
              <a:buNone/>
            </a:pPr>
            <a:endParaRPr lang="da-DK" sz="2400" i="1" dirty="0"/>
          </a:p>
          <a:p>
            <a:pPr lvl="0"/>
            <a:r>
              <a:rPr lang="da-DK" sz="2400" dirty="0"/>
              <a:t>tager ansvar for at </a:t>
            </a:r>
            <a:r>
              <a:rPr lang="da-DK" sz="2400" b="1" i="1" dirty="0"/>
              <a:t>bekæmpe den selvtilfredshed og selvtilstrækkelighed</a:t>
            </a:r>
            <a:r>
              <a:rPr lang="da-DK" sz="2400" dirty="0"/>
              <a:t>, som kan få faggrupper, afdelinger og organisationer til at lukke sig om sig selv </a:t>
            </a:r>
            <a:r>
              <a:rPr lang="da-DK" sz="2400" i="1" dirty="0"/>
              <a:t>(horisontudvidende praksis)</a:t>
            </a:r>
          </a:p>
          <a:p>
            <a:pPr marL="0" indent="0">
              <a:buNone/>
            </a:pPr>
            <a:r>
              <a:rPr lang="da-DK" sz="1200" dirty="0" smtClean="0"/>
              <a:t>Kilde: Elmholdt &amp; Fogsgaard, 2014</a:t>
            </a:r>
            <a:endParaRPr lang="da-DK" sz="1200" dirty="0"/>
          </a:p>
        </p:txBody>
      </p:sp>
    </p:spTree>
    <p:extLst>
      <p:ext uri="{BB962C8B-B14F-4D97-AF65-F5344CB8AC3E}">
        <p14:creationId xmlns:p14="http://schemas.microsoft.com/office/powerpoint/2010/main" val="98806766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GION H Hospital PowerPoint Skabelon_DKfinal">
  <a:themeElements>
    <a:clrScheme name="Det Nationale Ledelsesprogram">
      <a:dk1>
        <a:srgbClr val="333333"/>
      </a:dk1>
      <a:lt1>
        <a:srgbClr val="FFFFFF"/>
      </a:lt1>
      <a:dk2>
        <a:srgbClr val="575757"/>
      </a:dk2>
      <a:lt2>
        <a:srgbClr val="CCD4DD"/>
      </a:lt2>
      <a:accent1>
        <a:srgbClr val="D6B244"/>
      </a:accent1>
      <a:accent2>
        <a:srgbClr val="BE5730"/>
      </a:accent2>
      <a:accent3>
        <a:srgbClr val="5C818B"/>
      </a:accent3>
      <a:accent4>
        <a:srgbClr val="D2902E"/>
      </a:accent4>
      <a:accent5>
        <a:srgbClr val="294C55"/>
      </a:accent5>
      <a:accent6>
        <a:srgbClr val="999999"/>
      </a:accent6>
      <a:hlink>
        <a:srgbClr val="BE5730"/>
      </a:hlink>
      <a:folHlink>
        <a:srgbClr val="808080"/>
      </a:folHlink>
    </a:clrScheme>
    <a:fontScheme name="Region Hovedstad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F4A60"/>
        </a:solidFill>
        <a:ln w="9525">
          <a:solidFill>
            <a:srgbClr val="1F4A60"/>
          </a:solidFill>
        </a:ln>
      </a:spPr>
      <a:bodyPr lIns="0" tIns="0" rIns="0" bIns="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1F293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elkommen til Læringstræf 2" id="{3FA83C2D-98B6-4158-A556-62A55A06B7B9}" vid="{97AF08E7-FCDE-4FBB-A804-4D704B7A2274}"/>
    </a:ext>
  </a:extLst>
</a:theme>
</file>

<file path=ppt/theme/theme10.xml><?xml version="1.0" encoding="utf-8"?>
<a:theme xmlns:a="http://schemas.openxmlformats.org/drawingml/2006/main" name="2_REGION H Hospital PowerPoint Skabelon_DKfinal">
  <a:themeElements>
    <a:clrScheme name="Det Nationale Ledelsesprogram">
      <a:dk1>
        <a:srgbClr val="333333"/>
      </a:dk1>
      <a:lt1>
        <a:srgbClr val="FFFFFF"/>
      </a:lt1>
      <a:dk2>
        <a:srgbClr val="575757"/>
      </a:dk2>
      <a:lt2>
        <a:srgbClr val="CCD4DD"/>
      </a:lt2>
      <a:accent1>
        <a:srgbClr val="D6B244"/>
      </a:accent1>
      <a:accent2>
        <a:srgbClr val="BE5730"/>
      </a:accent2>
      <a:accent3>
        <a:srgbClr val="5C818B"/>
      </a:accent3>
      <a:accent4>
        <a:srgbClr val="D2902E"/>
      </a:accent4>
      <a:accent5>
        <a:srgbClr val="294C55"/>
      </a:accent5>
      <a:accent6>
        <a:srgbClr val="999999"/>
      </a:accent6>
      <a:hlink>
        <a:srgbClr val="BE5730"/>
      </a:hlink>
      <a:folHlink>
        <a:srgbClr val="808080"/>
      </a:folHlink>
    </a:clrScheme>
    <a:fontScheme name="Region Hovedstad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F4A60"/>
        </a:solidFill>
        <a:ln w="9525">
          <a:solidFill>
            <a:srgbClr val="1F4A60"/>
          </a:solidFill>
        </a:ln>
      </a:spPr>
      <a:bodyPr lIns="0" tIns="0" rIns="0" bIns="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1F293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orbedringsmodellen -pdsa og driverdiragram mv i program layout" id="{99829B0D-B8F2-4A7D-AAE1-1298594F1FE3}" vid="{D6B0A594-FDFD-4630-8305-6CD6D7A51D28}"/>
    </a:ext>
  </a:extLst>
</a:theme>
</file>

<file path=ppt/theme/theme11.xml><?xml version="1.0" encoding="utf-8"?>
<a:theme xmlns:a="http://schemas.openxmlformats.org/drawingml/2006/main" name="3_REGION H Hospital PowerPoint Skabelon_DKfinal">
  <a:themeElements>
    <a:clrScheme name="Det Nationale Ledelsesprogram">
      <a:dk1>
        <a:srgbClr val="333333"/>
      </a:dk1>
      <a:lt1>
        <a:srgbClr val="FFFFFF"/>
      </a:lt1>
      <a:dk2>
        <a:srgbClr val="575757"/>
      </a:dk2>
      <a:lt2>
        <a:srgbClr val="CCD4DD"/>
      </a:lt2>
      <a:accent1>
        <a:srgbClr val="D6B244"/>
      </a:accent1>
      <a:accent2>
        <a:srgbClr val="BE5730"/>
      </a:accent2>
      <a:accent3>
        <a:srgbClr val="5C818B"/>
      </a:accent3>
      <a:accent4>
        <a:srgbClr val="D2902E"/>
      </a:accent4>
      <a:accent5>
        <a:srgbClr val="294C55"/>
      </a:accent5>
      <a:accent6>
        <a:srgbClr val="999999"/>
      </a:accent6>
      <a:hlink>
        <a:srgbClr val="BE5730"/>
      </a:hlink>
      <a:folHlink>
        <a:srgbClr val="808080"/>
      </a:folHlink>
    </a:clrScheme>
    <a:fontScheme name="Region Hovedstad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F4A60"/>
        </a:solidFill>
        <a:ln w="9525">
          <a:solidFill>
            <a:srgbClr val="1F4A60"/>
          </a:solidFill>
        </a:ln>
      </a:spPr>
      <a:bodyPr lIns="0" tIns="0" rIns="0" bIns="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1F293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LF2 dag 2 blok 8 - GODE HISTORIER" id="{453F9DD2-0A4B-47ED-81EF-4B28DF215AFA}" vid="{5F1A5285-FCAA-4988-9ECA-3E30F1B145EC}"/>
    </a:ext>
  </a:extLst>
</a:theme>
</file>

<file path=ppt/theme/theme12.xml><?xml version="1.0" encoding="utf-8"?>
<a:theme xmlns:a="http://schemas.openxmlformats.org/drawingml/2006/main" name="1_Brugerdefineret design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lassisk kontor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4_REGION H Hospital PowerPoint Skabelon_DKfinal">
  <a:themeElements>
    <a:clrScheme name="Det Nationale Ledelsesprogram">
      <a:dk1>
        <a:srgbClr val="333333"/>
      </a:dk1>
      <a:lt1>
        <a:srgbClr val="FFFFFF"/>
      </a:lt1>
      <a:dk2>
        <a:srgbClr val="575757"/>
      </a:dk2>
      <a:lt2>
        <a:srgbClr val="CCD4DD"/>
      </a:lt2>
      <a:accent1>
        <a:srgbClr val="D6B244"/>
      </a:accent1>
      <a:accent2>
        <a:srgbClr val="BE5730"/>
      </a:accent2>
      <a:accent3>
        <a:srgbClr val="5C818B"/>
      </a:accent3>
      <a:accent4>
        <a:srgbClr val="D2902E"/>
      </a:accent4>
      <a:accent5>
        <a:srgbClr val="294C55"/>
      </a:accent5>
      <a:accent6>
        <a:srgbClr val="999999"/>
      </a:accent6>
      <a:hlink>
        <a:srgbClr val="BE5730"/>
      </a:hlink>
      <a:folHlink>
        <a:srgbClr val="808080"/>
      </a:folHlink>
    </a:clrScheme>
    <a:fontScheme name="Region Hovedstad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F4A60"/>
        </a:solidFill>
        <a:ln w="9525">
          <a:solidFill>
            <a:srgbClr val="1F4A60"/>
          </a:solidFill>
        </a:ln>
      </a:spPr>
      <a:bodyPr lIns="0" tIns="0" rIns="0" bIns="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1F293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æsentation af opgaven til klyngerne" id="{5B4DC7AA-301C-448F-B802-FCE20AF6838A}" vid="{4E34568C-751F-4A67-AF72-D49507100C15}"/>
    </a:ext>
  </a:extLst>
</a:theme>
</file>

<file path=ppt/theme/theme14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Arial" panose="020B0604020202020204"/>
        <a:ea typeface=""/>
        <a:cs typeface=""/>
        <a:font script="Jpan" typeface="Arial"/>
        <a:font script="Hang" typeface="Arial"/>
        <a:font script="Hans" typeface="Arial"/>
        <a:font script="Hant" typeface="Arial"/>
        <a:font script="Arab" typeface="Arial"/>
        <a:font script="Hebr" typeface="Arial"/>
        <a:font script="Thai" typeface="Arial"/>
        <a:font script="Ethi" typeface="Arial"/>
        <a:font script="Beng" typeface="Arial"/>
        <a:font script="Gujr" typeface="Arial"/>
        <a:font script="Khmr" typeface="Arial"/>
        <a:font script="Knda" typeface="Arial"/>
        <a:font script="Guru" typeface="Arial"/>
        <a:font script="Cans" typeface="Arial"/>
        <a:font script="Cher" typeface="Arial"/>
        <a:font script="Yiii" typeface="Arial"/>
        <a:font script="Tibt" typeface="Arial"/>
        <a:font script="Thaa" typeface="Arial"/>
        <a:font script="Deva" typeface="Arial"/>
        <a:font script="Telu" typeface="Arial"/>
        <a:font script="Taml" typeface="Arial"/>
        <a:font script="Syrc" typeface="Arial"/>
        <a:font script="Orya" typeface="Arial"/>
        <a:font script="Mlym" typeface="Arial"/>
        <a:font script="Laoo" typeface="Arial"/>
        <a:font script="Sinh" typeface="Arial"/>
        <a:font script="Mong" typeface="Arial"/>
        <a:font script="Viet" typeface="Arial"/>
        <a:font script="Uigh" typeface="Arial"/>
        <a:font script="Geor" typeface="Arial"/>
      </a:majorFont>
      <a:minorFont>
        <a:latin typeface="Arial" panose="020B0604020202020204"/>
        <a:ea typeface=""/>
        <a:cs typeface=""/>
        <a:font script="Jpan" typeface="Arial"/>
        <a:font script="Hang" typeface="Arial"/>
        <a:font script="Hans" typeface="Arial"/>
        <a:font script="Hant" typeface="Arial"/>
        <a:font script="Arab" typeface="Arial"/>
        <a:font script="Hebr" typeface="Arial"/>
        <a:font script="Thai" typeface="Arial"/>
        <a:font script="Ethi" typeface="Arial"/>
        <a:font script="Beng" typeface="Arial"/>
        <a:font script="Gujr" typeface="Arial"/>
        <a:font script="Khmr" typeface="Arial"/>
        <a:font script="Knda" typeface="Arial"/>
        <a:font script="Guru" typeface="Arial"/>
        <a:font script="Cans" typeface="Arial"/>
        <a:font script="Cher" typeface="Arial"/>
        <a:font script="Yiii" typeface="Arial"/>
        <a:font script="Tibt" typeface="Arial"/>
        <a:font script="Thaa" typeface="Arial"/>
        <a:font script="Deva" typeface="Arial"/>
        <a:font script="Telu" typeface="Arial"/>
        <a:font script="Taml" typeface="Arial"/>
        <a:font script="Syrc" typeface="Arial"/>
        <a:font script="Orya" typeface="Arial"/>
        <a:font script="Mlym" typeface="Arial"/>
        <a:font script="Laoo" typeface="Arial"/>
        <a:font script="Sinh" typeface="Arial"/>
        <a:font script="Mong" typeface="Arial"/>
        <a:font script="Viet" typeface="Arial"/>
        <a:font script="Uigh" typeface="Arial"/>
        <a:font script="Geor" typeface="Arial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SS 16:9">
  <a:themeElements>
    <a:clrScheme name="AU_Blue">
      <a:dk1>
        <a:srgbClr val="000000"/>
      </a:dk1>
      <a:lt1>
        <a:srgbClr val="FFFFFF"/>
      </a:lt1>
      <a:dk2>
        <a:srgbClr val="002546"/>
      </a:dk2>
      <a:lt2>
        <a:srgbClr val="002546"/>
      </a:lt2>
      <a:accent1>
        <a:srgbClr val="0A1439"/>
      </a:accent1>
      <a:accent2>
        <a:srgbClr val="183D83"/>
      </a:accent2>
      <a:accent3>
        <a:srgbClr val="87D1F4"/>
      </a:accent3>
      <a:accent4>
        <a:srgbClr val="33525F"/>
      </a:accent4>
      <a:accent5>
        <a:srgbClr val="548195"/>
      </a:accent5>
      <a:accent6>
        <a:srgbClr val="C6C6C6"/>
      </a:accent6>
      <a:hlink>
        <a:srgbClr val="03428E"/>
      </a:hlink>
      <a:folHlink>
        <a:srgbClr val="03428E"/>
      </a:folHlink>
    </a:clrScheme>
    <a:fontScheme name="AU Passata">
      <a:majorFont>
        <a:latin typeface="AU Passata"/>
        <a:ea typeface=""/>
        <a:cs typeface=""/>
      </a:majorFont>
      <a:minorFont>
        <a:latin typeface="AU Passa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778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95000"/>
          </a:lnSpc>
          <a:spcBef>
            <a:spcPct val="0"/>
          </a:spcBef>
          <a:spcAft>
            <a:spcPct val="0"/>
          </a:spcAft>
          <a:buClrTx/>
          <a:buSzTx/>
          <a:buFont typeface="AU Passata" pitchFamily="34" charset="0"/>
          <a:buNone/>
          <a:tabLst/>
          <a:defRPr kumimoji="0" sz="1600" b="0" i="0" u="none" strike="noStrike" cap="none" normalizeH="0" baseline="0" dirty="0" err="1">
            <a:ln>
              <a:noFill/>
            </a:ln>
            <a:solidFill>
              <a:schemeClr val="bg1"/>
            </a:solidFill>
            <a:effectLst/>
            <a:latin typeface="AU Passat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1778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ts val="3600"/>
          </a:lnSpc>
          <a:spcBef>
            <a:spcPct val="0"/>
          </a:spcBef>
          <a:spcAft>
            <a:spcPct val="0"/>
          </a:spcAft>
          <a:buClrTx/>
          <a:buSzTx/>
          <a:buFont typeface="AU Passata" pitchFamily="34" charset="0"/>
          <a:buNone/>
          <a:tabLst/>
          <a:defRPr kumimoji="0" lang="en-US" sz="3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U Passata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5000"/>
          </a:lnSpc>
          <a:defRPr sz="1600" dirty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U PowerPoint Template 16-9.potx" id="{7A6F7BDC-B87C-43B1-A03F-8FC29EB8E4AA}" vid="{0342C178-0357-4DD1-B9D7-A15D067ACA9C}"/>
    </a:ext>
  </a:extLst>
</a:theme>
</file>

<file path=ppt/theme/theme3.xml><?xml version="1.0" encoding="utf-8"?>
<a:theme xmlns:a="http://schemas.openxmlformats.org/drawingml/2006/main" name="13_BSS 16:9">
  <a:themeElements>
    <a:clrScheme name="AU_Blue">
      <a:dk1>
        <a:srgbClr val="000000"/>
      </a:dk1>
      <a:lt1>
        <a:srgbClr val="FFFFFF"/>
      </a:lt1>
      <a:dk2>
        <a:srgbClr val="002546"/>
      </a:dk2>
      <a:lt2>
        <a:srgbClr val="002546"/>
      </a:lt2>
      <a:accent1>
        <a:srgbClr val="0A1439"/>
      </a:accent1>
      <a:accent2>
        <a:srgbClr val="183D83"/>
      </a:accent2>
      <a:accent3>
        <a:srgbClr val="87D1F4"/>
      </a:accent3>
      <a:accent4>
        <a:srgbClr val="33525F"/>
      </a:accent4>
      <a:accent5>
        <a:srgbClr val="548195"/>
      </a:accent5>
      <a:accent6>
        <a:srgbClr val="C6C6C6"/>
      </a:accent6>
      <a:hlink>
        <a:srgbClr val="03428E"/>
      </a:hlink>
      <a:folHlink>
        <a:srgbClr val="03428E"/>
      </a:folHlink>
    </a:clrScheme>
    <a:fontScheme name="AU Passata">
      <a:majorFont>
        <a:latin typeface="AU Passata"/>
        <a:ea typeface=""/>
        <a:cs typeface=""/>
      </a:majorFont>
      <a:minorFont>
        <a:latin typeface="AU Passa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778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95000"/>
          </a:lnSpc>
          <a:spcBef>
            <a:spcPct val="0"/>
          </a:spcBef>
          <a:spcAft>
            <a:spcPct val="0"/>
          </a:spcAft>
          <a:buClrTx/>
          <a:buSzTx/>
          <a:buFont typeface="AU Passata" pitchFamily="34" charset="0"/>
          <a:buNone/>
          <a:tabLst/>
          <a:defRPr kumimoji="0" sz="1600" b="0" i="0" u="none" strike="noStrike" cap="none" normalizeH="0" baseline="0" dirty="0" err="1">
            <a:ln>
              <a:noFill/>
            </a:ln>
            <a:solidFill>
              <a:schemeClr val="bg1"/>
            </a:solidFill>
            <a:effectLst/>
            <a:latin typeface="AU Passat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1778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ts val="3600"/>
          </a:lnSpc>
          <a:spcBef>
            <a:spcPct val="0"/>
          </a:spcBef>
          <a:spcAft>
            <a:spcPct val="0"/>
          </a:spcAft>
          <a:buClrTx/>
          <a:buSzTx/>
          <a:buFont typeface="AU Passata" pitchFamily="34" charset="0"/>
          <a:buNone/>
          <a:tabLst/>
          <a:defRPr kumimoji="0" lang="en-US" sz="3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U Passata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5000"/>
          </a:lnSpc>
          <a:defRPr sz="1600" dirty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U PowerPoint Template 16-9.potx" id="{7A6F7BDC-B87C-43B1-A03F-8FC29EB8E4AA}" vid="{0342C178-0357-4DD1-B9D7-A15D067ACA9C}"/>
    </a:ext>
  </a:extLst>
</a:theme>
</file>

<file path=ppt/theme/theme4.xml><?xml version="1.0" encoding="utf-8"?>
<a:theme xmlns:a="http://schemas.openxmlformats.org/drawingml/2006/main" name="6_BSS 16:9">
  <a:themeElements>
    <a:clrScheme name="AU_Blue">
      <a:dk1>
        <a:srgbClr val="000000"/>
      </a:dk1>
      <a:lt1>
        <a:srgbClr val="FFFFFF"/>
      </a:lt1>
      <a:dk2>
        <a:srgbClr val="002546"/>
      </a:dk2>
      <a:lt2>
        <a:srgbClr val="002546"/>
      </a:lt2>
      <a:accent1>
        <a:srgbClr val="0A1439"/>
      </a:accent1>
      <a:accent2>
        <a:srgbClr val="183D83"/>
      </a:accent2>
      <a:accent3>
        <a:srgbClr val="87D1F4"/>
      </a:accent3>
      <a:accent4>
        <a:srgbClr val="33525F"/>
      </a:accent4>
      <a:accent5>
        <a:srgbClr val="548195"/>
      </a:accent5>
      <a:accent6>
        <a:srgbClr val="C6C6C6"/>
      </a:accent6>
      <a:hlink>
        <a:srgbClr val="03428E"/>
      </a:hlink>
      <a:folHlink>
        <a:srgbClr val="03428E"/>
      </a:folHlink>
    </a:clrScheme>
    <a:fontScheme name="AU Passata">
      <a:majorFont>
        <a:latin typeface="AU Passata"/>
        <a:ea typeface=""/>
        <a:cs typeface=""/>
      </a:majorFont>
      <a:minorFont>
        <a:latin typeface="AU Passa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778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95000"/>
          </a:lnSpc>
          <a:spcBef>
            <a:spcPct val="0"/>
          </a:spcBef>
          <a:spcAft>
            <a:spcPct val="0"/>
          </a:spcAft>
          <a:buClrTx/>
          <a:buSzTx/>
          <a:buFont typeface="AU Passata" pitchFamily="34" charset="0"/>
          <a:buNone/>
          <a:tabLst/>
          <a:defRPr kumimoji="0" sz="1600" b="0" i="0" u="none" strike="noStrike" cap="none" normalizeH="0" baseline="0" dirty="0" err="1">
            <a:ln>
              <a:noFill/>
            </a:ln>
            <a:solidFill>
              <a:schemeClr val="bg1"/>
            </a:solidFill>
            <a:effectLst/>
            <a:latin typeface="AU Passat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1778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ts val="3600"/>
          </a:lnSpc>
          <a:spcBef>
            <a:spcPct val="0"/>
          </a:spcBef>
          <a:spcAft>
            <a:spcPct val="0"/>
          </a:spcAft>
          <a:buClrTx/>
          <a:buSzTx/>
          <a:buFont typeface="AU Passata" pitchFamily="34" charset="0"/>
          <a:buNone/>
          <a:tabLst/>
          <a:defRPr kumimoji="0" lang="en-US" sz="3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U Passata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5000"/>
          </a:lnSpc>
          <a:defRPr sz="1600" dirty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U PowerPoint Template 16-9.potx" id="{7A6F7BDC-B87C-43B1-A03F-8FC29EB8E4AA}" vid="{0342C178-0357-4DD1-B9D7-A15D067ACA9C}"/>
    </a:ext>
  </a:extLst>
</a:theme>
</file>

<file path=ppt/theme/theme5.xml><?xml version="1.0" encoding="utf-8"?>
<a:theme xmlns:a="http://schemas.openxmlformats.org/drawingml/2006/main" name="39_LEKO_Rapportskabelon 20. juli">
  <a:themeElements>
    <a:clrScheme name="RAMOJO Colour Design Aps.">
      <a:dk1>
        <a:srgbClr val="5B504C"/>
      </a:dk1>
      <a:lt1>
        <a:srgbClr val="FFFFFF"/>
      </a:lt1>
      <a:dk2>
        <a:srgbClr val="000000"/>
      </a:dk2>
      <a:lt2>
        <a:srgbClr val="A1938E"/>
      </a:lt2>
      <a:accent1>
        <a:srgbClr val="E5003A"/>
      </a:accent1>
      <a:accent2>
        <a:srgbClr val="851524"/>
      </a:accent2>
      <a:accent3>
        <a:srgbClr val="420A12"/>
      </a:accent3>
      <a:accent4>
        <a:srgbClr val="EB8491"/>
      </a:accent4>
      <a:accent5>
        <a:srgbClr val="AFAFAF"/>
      </a:accent5>
      <a:accent6>
        <a:srgbClr val="5C5C5C"/>
      </a:accent6>
      <a:hlink>
        <a:srgbClr val="E5003A"/>
      </a:hlink>
      <a:folHlink>
        <a:srgbClr val="85152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4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chemeClr val="accent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>
            <a:latin typeface="Arial" charset="0"/>
            <a:ea typeface="Arial" charset="0"/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4_BSS 16:9">
  <a:themeElements>
    <a:clrScheme name="AU_Blue">
      <a:dk1>
        <a:srgbClr val="000000"/>
      </a:dk1>
      <a:lt1>
        <a:srgbClr val="FFFFFF"/>
      </a:lt1>
      <a:dk2>
        <a:srgbClr val="002546"/>
      </a:dk2>
      <a:lt2>
        <a:srgbClr val="002546"/>
      </a:lt2>
      <a:accent1>
        <a:srgbClr val="0A1439"/>
      </a:accent1>
      <a:accent2>
        <a:srgbClr val="183D83"/>
      </a:accent2>
      <a:accent3>
        <a:srgbClr val="87D1F4"/>
      </a:accent3>
      <a:accent4>
        <a:srgbClr val="33525F"/>
      </a:accent4>
      <a:accent5>
        <a:srgbClr val="548195"/>
      </a:accent5>
      <a:accent6>
        <a:srgbClr val="C6C6C6"/>
      </a:accent6>
      <a:hlink>
        <a:srgbClr val="03428E"/>
      </a:hlink>
      <a:folHlink>
        <a:srgbClr val="03428E"/>
      </a:folHlink>
    </a:clrScheme>
    <a:fontScheme name="AU Passata">
      <a:majorFont>
        <a:latin typeface="AU Passata"/>
        <a:ea typeface=""/>
        <a:cs typeface=""/>
      </a:majorFont>
      <a:minorFont>
        <a:latin typeface="AU Passa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778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95000"/>
          </a:lnSpc>
          <a:spcBef>
            <a:spcPct val="0"/>
          </a:spcBef>
          <a:spcAft>
            <a:spcPct val="0"/>
          </a:spcAft>
          <a:buClrTx/>
          <a:buSzTx/>
          <a:buFont typeface="AU Passata" pitchFamily="34" charset="0"/>
          <a:buNone/>
          <a:tabLst/>
          <a:defRPr kumimoji="0" sz="1600" b="0" i="0" u="none" strike="noStrike" cap="none" normalizeH="0" baseline="0" dirty="0" err="1">
            <a:ln>
              <a:noFill/>
            </a:ln>
            <a:solidFill>
              <a:schemeClr val="bg1"/>
            </a:solidFill>
            <a:effectLst/>
            <a:latin typeface="AU Passat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1778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ts val="3600"/>
          </a:lnSpc>
          <a:spcBef>
            <a:spcPct val="0"/>
          </a:spcBef>
          <a:spcAft>
            <a:spcPct val="0"/>
          </a:spcAft>
          <a:buClrTx/>
          <a:buSzTx/>
          <a:buFont typeface="AU Passata" pitchFamily="34" charset="0"/>
          <a:buNone/>
          <a:tabLst/>
          <a:defRPr kumimoji="0" lang="en-US" sz="3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U Passata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5000"/>
          </a:lnSpc>
          <a:defRPr sz="1600" dirty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U PowerPoint Template 16-9.potx" id="{7A6F7BDC-B87C-43B1-A03F-8FC29EB8E4AA}" vid="{0342C178-0357-4DD1-B9D7-A15D067ACA9C}"/>
    </a:ext>
  </a:extLst>
</a:theme>
</file>

<file path=ppt/theme/theme7.xml><?xml version="1.0" encoding="utf-8"?>
<a:theme xmlns:a="http://schemas.openxmlformats.org/drawingml/2006/main" name="21_BSS 16:9">
  <a:themeElements>
    <a:clrScheme name="AU_Blue">
      <a:dk1>
        <a:srgbClr val="000000"/>
      </a:dk1>
      <a:lt1>
        <a:srgbClr val="FFFFFF"/>
      </a:lt1>
      <a:dk2>
        <a:srgbClr val="002546"/>
      </a:dk2>
      <a:lt2>
        <a:srgbClr val="002546"/>
      </a:lt2>
      <a:accent1>
        <a:srgbClr val="0A1439"/>
      </a:accent1>
      <a:accent2>
        <a:srgbClr val="183D83"/>
      </a:accent2>
      <a:accent3>
        <a:srgbClr val="87D1F4"/>
      </a:accent3>
      <a:accent4>
        <a:srgbClr val="33525F"/>
      </a:accent4>
      <a:accent5>
        <a:srgbClr val="548195"/>
      </a:accent5>
      <a:accent6>
        <a:srgbClr val="C6C6C6"/>
      </a:accent6>
      <a:hlink>
        <a:srgbClr val="03428E"/>
      </a:hlink>
      <a:folHlink>
        <a:srgbClr val="03428E"/>
      </a:folHlink>
    </a:clrScheme>
    <a:fontScheme name="AU Passata">
      <a:majorFont>
        <a:latin typeface="AU Passata"/>
        <a:ea typeface=""/>
        <a:cs typeface=""/>
      </a:majorFont>
      <a:minorFont>
        <a:latin typeface="AU Passa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778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95000"/>
          </a:lnSpc>
          <a:spcBef>
            <a:spcPct val="0"/>
          </a:spcBef>
          <a:spcAft>
            <a:spcPct val="0"/>
          </a:spcAft>
          <a:buClrTx/>
          <a:buSzTx/>
          <a:buFont typeface="AU Passata" pitchFamily="34" charset="0"/>
          <a:buNone/>
          <a:tabLst/>
          <a:defRPr kumimoji="0" sz="1600" b="0" i="0" u="none" strike="noStrike" cap="none" normalizeH="0" baseline="0" dirty="0" err="1">
            <a:ln>
              <a:noFill/>
            </a:ln>
            <a:solidFill>
              <a:schemeClr val="bg1"/>
            </a:solidFill>
            <a:effectLst/>
            <a:latin typeface="AU Passat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1778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ts val="3600"/>
          </a:lnSpc>
          <a:spcBef>
            <a:spcPct val="0"/>
          </a:spcBef>
          <a:spcAft>
            <a:spcPct val="0"/>
          </a:spcAft>
          <a:buClrTx/>
          <a:buSzTx/>
          <a:buFont typeface="AU Passata" pitchFamily="34" charset="0"/>
          <a:buNone/>
          <a:tabLst/>
          <a:defRPr kumimoji="0" lang="en-US" sz="3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U Passata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5000"/>
          </a:lnSpc>
          <a:defRPr sz="1600" dirty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U PowerPoint Template 16-9.potx" id="{7A6F7BDC-B87C-43B1-A03F-8FC29EB8E4AA}" vid="{0342C178-0357-4DD1-B9D7-A15D067ACA9C}"/>
    </a:ext>
  </a:extLst>
</a:theme>
</file>

<file path=ppt/theme/theme8.xml><?xml version="1.0" encoding="utf-8"?>
<a:theme xmlns:a="http://schemas.openxmlformats.org/drawingml/2006/main" name="2_BSS 16:9">
  <a:themeElements>
    <a:clrScheme name="AU_Blue">
      <a:dk1>
        <a:srgbClr val="000000"/>
      </a:dk1>
      <a:lt1>
        <a:srgbClr val="FFFFFF"/>
      </a:lt1>
      <a:dk2>
        <a:srgbClr val="002546"/>
      </a:dk2>
      <a:lt2>
        <a:srgbClr val="002546"/>
      </a:lt2>
      <a:accent1>
        <a:srgbClr val="0A1439"/>
      </a:accent1>
      <a:accent2>
        <a:srgbClr val="183D83"/>
      </a:accent2>
      <a:accent3>
        <a:srgbClr val="87D1F4"/>
      </a:accent3>
      <a:accent4>
        <a:srgbClr val="33525F"/>
      </a:accent4>
      <a:accent5>
        <a:srgbClr val="548195"/>
      </a:accent5>
      <a:accent6>
        <a:srgbClr val="C6C6C6"/>
      </a:accent6>
      <a:hlink>
        <a:srgbClr val="03428E"/>
      </a:hlink>
      <a:folHlink>
        <a:srgbClr val="03428E"/>
      </a:folHlink>
    </a:clrScheme>
    <a:fontScheme name="AU Passata">
      <a:majorFont>
        <a:latin typeface="AU Passata"/>
        <a:ea typeface=""/>
        <a:cs typeface=""/>
      </a:majorFont>
      <a:minorFont>
        <a:latin typeface="AU Passat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778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95000"/>
          </a:lnSpc>
          <a:spcBef>
            <a:spcPct val="0"/>
          </a:spcBef>
          <a:spcAft>
            <a:spcPct val="0"/>
          </a:spcAft>
          <a:buClrTx/>
          <a:buSzTx/>
          <a:buFont typeface="AU Passata" pitchFamily="34" charset="0"/>
          <a:buNone/>
          <a:tabLst/>
          <a:defRPr kumimoji="0" sz="1600" b="0" i="0" u="none" strike="noStrike" cap="none" normalizeH="0" baseline="0" dirty="0" err="1">
            <a:ln>
              <a:noFill/>
            </a:ln>
            <a:solidFill>
              <a:schemeClr val="bg1"/>
            </a:solidFill>
            <a:effectLst/>
            <a:latin typeface="AU Passat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1778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ts val="3600"/>
          </a:lnSpc>
          <a:spcBef>
            <a:spcPct val="0"/>
          </a:spcBef>
          <a:spcAft>
            <a:spcPct val="0"/>
          </a:spcAft>
          <a:buClrTx/>
          <a:buSzTx/>
          <a:buFont typeface="AU Passata" pitchFamily="34" charset="0"/>
          <a:buNone/>
          <a:tabLst/>
          <a:defRPr kumimoji="0" lang="en-US" sz="3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U Passata" pitchFamily="34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5000"/>
          </a:lnSpc>
          <a:defRPr sz="1600" dirty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U PowerPoint Template 16-9.potx" id="{7A6F7BDC-B87C-43B1-A03F-8FC29EB8E4AA}" vid="{0342C178-0357-4DD1-B9D7-A15D067ACA9C}"/>
    </a:ext>
  </a:extLst>
</a:theme>
</file>

<file path=ppt/theme/theme9.xml><?xml version="1.0" encoding="utf-8"?>
<a:theme xmlns:a="http://schemas.openxmlformats.org/drawingml/2006/main" name="1_REGION H Hospital PowerPoint Skabelon_DKfinal">
  <a:themeElements>
    <a:clrScheme name="Det Nationale Ledelsesprogram">
      <a:dk1>
        <a:srgbClr val="333333"/>
      </a:dk1>
      <a:lt1>
        <a:srgbClr val="FFFFFF"/>
      </a:lt1>
      <a:dk2>
        <a:srgbClr val="575757"/>
      </a:dk2>
      <a:lt2>
        <a:srgbClr val="CCD4DD"/>
      </a:lt2>
      <a:accent1>
        <a:srgbClr val="D6B244"/>
      </a:accent1>
      <a:accent2>
        <a:srgbClr val="BE5730"/>
      </a:accent2>
      <a:accent3>
        <a:srgbClr val="5C818B"/>
      </a:accent3>
      <a:accent4>
        <a:srgbClr val="D2902E"/>
      </a:accent4>
      <a:accent5>
        <a:srgbClr val="294C55"/>
      </a:accent5>
      <a:accent6>
        <a:srgbClr val="999999"/>
      </a:accent6>
      <a:hlink>
        <a:srgbClr val="BE5730"/>
      </a:hlink>
      <a:folHlink>
        <a:srgbClr val="808080"/>
      </a:folHlink>
    </a:clrScheme>
    <a:fontScheme name="Region Hovedstad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F4A60"/>
        </a:solidFill>
        <a:ln w="9525">
          <a:solidFill>
            <a:srgbClr val="1F4A60"/>
          </a:solidFill>
        </a:ln>
      </a:spPr>
      <a:bodyPr lIns="0" tIns="0" rIns="0" bIns="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1F293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LF2 dag 1 blok 3 - LEDELSE PÅ TVÆRS ANALYSE AF BORGERFORLØB" id="{D49B7EA2-A2CC-4E2B-9C87-6E1A3A2FB8E5}" vid="{7C2FC6AD-5A45-451E-96F9-8F079D2EF32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item1.xml><?xml version="1.0" encoding="utf-8"?>
<TemplafySlideTemplateConfiguration><![CDATA[{"documentContentValidatorConfiguration":{"enableDocumentContentValidator":false,"documentContentValidatorVersion":0},"elementsMetadata":[],"slideId":"637110650348665569","enableDocumentContentUpdater":true,"version":"1.3"}]]></TemplafySlideTemplateConfiguration>
</file>

<file path=customXml/item2.xml><?xml version="1.0" encoding="utf-8"?>
<TemplafySlideFormConfiguration><![CDATA[{"formFields":[],"formDataEntries":[]}]]></TemplafySlideFormConfiguration>
</file>

<file path=customXml/item3.xml><?xml version="1.0" encoding="utf-8"?>
<TemplafySlideTemplateConfiguration><![CDATA[{"documentContentValidatorConfiguration":{"enableDocumentContentValidator":false,"documentContentValidatorVersion":0},"elementsMetadata":[],"slideId":"636973038327532712","enableDocumentContentUpdater":true,"version":"1.3"}]]></TemplafySlideTemplateConfiguration>
</file>

<file path=customXml/item4.xml><?xml version="1.0" encoding="utf-8"?>
<TemplafyTemplateConfiguration><![CDATA[{"elementsMetadata":[{"type":"shape","id":"2ebd6db3-90c4-4b08-9faa-43f872aa6368","elementConfiguration":{"inheritDimensions":"inheritNone","width":"1.9 cm","height":"1.9 cm","disableUpdates":false,"type":"image"}},{"type":"shape","id":"368a6b0b-88b0-4316-8696-e3992c9f1e9c","elementConfiguration":{"binding":"UserProfile.Office.Virksomhed_{{DocumentLanguage}}","disableUpdates":false,"type":"text"}},{"type":"shape","id":"173f561e-2118-4900-a684-0922ca0a3341","elementConfiguration":{"binding":"UserProfile.CenterFreeText","visibility":{"action":"hide","binding":"UserProfile.Centers.CenterUI","operator":"notEquals","compareValue":"Intet valgt"},"disableUpdates":false,"type":"text"}},{"type":"shape","id":"decbd55a-1e75-41d0-8835-3335e13d6e57","elementConfiguration":{"binding":"UserProfile.Centers.Center_{{DocumentLanguage}}","visibility":{"action":"hide","binding":"UserProfile.Centers.CenterUI","operator":"equals","compareValue":"Intet valgt"},"disableUpdates":false,"type":"text"}},{"type":"shape","id":"78ca8786-1252-465f-8d6c-acb5c8d46f5c","elementConfiguration":{"binding":"Form.PresentationTitle","disableUpdates":false,"type":"text"}},{"type":"shape","id":"ab66d434-1406-473d-b4e3-aa28a19f82d5","elementConfiguration":{"inheritDimensions":"inheritNone","width":"1.9 cm","height":"1.9 cm","binding":"UserProfile.Office.LogoColor_DCU","disableUpdates":false,"type":"image"}},{"type":"shape","id":"0f8a589b-a30f-438f-80ae-2d8576690104","elementConfiguration":{"inheritDimensions":"inheritNone","width":"3.68 cm","height":"1.17 cm","binding":"UserProfile.EkstraLogo.ExtraLogoPPNEGDCU_{{DocumentLanguage}}","disableUpdates":false,"type":"image"}},{"type":"shape","id":"5c917b7f-bd6d-48a1-aa25-bed89670d691","elementConfiguration":{"inheritDimensions":"inheritNone","width":"2.42 cm","height":"2.5 cm","binding":"UserProfile.EkstraLogo.ExtraLogoFive_PP_DCU_{{DocumentLanguage}}","disableUpdates":false,"type":"image"}},{"type":"shape","id":"9e3db905-7ecb-4858-8bb4-fb8d031d37b3","elementConfiguration":{"inheritDimensions":"inheritNone","width":"2.42 cm","height":"2.5 cm","binding":"UserProfile.EkstraLogo.ExtraLogoTwo_PP_DCU_{{DocumentLanguage}}","disableUpdates":false,"type":"image"}},{"type":"shape","id":"690202d0-5d99-4e27-8d48-7472011335e3","elementConfiguration":{"binding":"UserProfile.Name","visibility":{"action":"hide","binding":"Form.Manuel_dato","operator":"notEquals","compareValue":""},"disableUpdates":false,"type":"text"}},{"type":"shape","id":"a718bf9e-7fe9-4088-8059-3b58779af571","elementConfiguration":{"binding":"Form.Manuel_dato","visibility":{"action":"hide","operator":"equals","compareValue":""},"disableUpdates":false,"type":"text"}},{"type":"shape","id":"5448b64f-e8e0-4f87-908a-07b6e0852b9f","elementConfiguration":{"inheritDimensions":"inheritNone","width":"6.05 cm","height":"1.9 cm","binding":"UserProfile.EkstraLogo.ExtraLogoSix_PP_DCU_{{DocumentLanguage}}","disableUpdates":false,"type":"image"}},{"type":"shape","id":"31f48e3f-67bf-4f21-8410-c845401ce75f","elementConfiguration":{"inheritDimensions":"inheritWidth","width":"1.91 cm","binding":"UserProfile.Office.LogoH_PP_DCU","disableUpdates":false,"type":"image"}},{"type":"shape","id":"f5751178-ad6a-4b5a-974e-42ca741f0fd8","elementConfiguration":{"inheritDimensions":"inheritNone","width":"3.68 cm","height":"1.17 cm","binding":"UserProfile.EkstraLogo.ExtraLogoPPDCU_{{DocumentLanguage}}","disableUpdates":false,"type":"image"}},{"type":"shape","id":"fc6dbfd2-f242-44f9-8170-2edbe395a063","elementConfiguration":{"binding":"UserProfile.Office.Virksomhed_{{DocumentLanguage}}","disableUpdates":false,"type":"text"}},{"type":"shape","id":"7c029f93-6348-48cb-8021-c59287ab4238","elementConfiguration":{"binding":"UserProfile.CenterFreeText","visibility":{"action":"hide","binding":"UserProfile.Centers.CenterUI","operator":"notEquals","compareValue":"Intet valgt"},"disableUpdates":false,"type":"text"}},{"type":"shape","id":"610a136d-350c-47bb-9acd-e6a92866994c","elementConfiguration":{"binding":"UserProfile.Centers.Center_{{DocumentLanguage}}","visibility":{"action":"hide","binding":"UserProfile.Centers.CenterUI","operator":"equals","compareValue":"Intet valgt"},"disableUpdates":false,"type":"text"}},{"type":"shape","id":"9251b965-bf55-46bd-b133-611fe71678e6","elementConfiguration":{"binding":"Form.PresentationTitle","disableUpdates":false,"type":"text"}},{"type":"shape","id":"9d75f1d7-dff8-48b6-aacf-ccc8bc232c3a","elementConfiguration":{"inheritDimensions":"inheritNone","width":"2.42 cm","height":"2.5 cm","binding":"UserProfile.EkstraLogo.ExtraLogoFive_PP_DCU_{{DocumentLanguage}}","disableUpdates":false,"type":"image"}},{"type":"shape","id":"754edb91-7af3-4e10-9e1b-1f6b1ec7dda5","elementConfiguration":{"inheritDimensions":"inheritNone","width":"2.42 cm","height":"2.5 cm","binding":"UserProfile.EkstraLogo.ExtraLogoTwo_PP_DCU_{{DocumentLanguage}}","disableUpdates":false,"type":"image"}},{"type":"shape","id":"edb4a99e-1ed2-4b5f-95bf-ce3071f45ade","elementConfiguration":{"binding":"UserProfile.Name","visibility":{"action":"hide","binding":"Form.Manuel_dato","operator":"notEquals","compareValue":""},"disableUpdates":false,"type":"text"}},{"type":"shape","id":"c7759bba-37a4-4f22-9365-df4bcabb1df5","elementConfiguration":{"binding":"Form.Manuel_dato","visibility":{"action":"hide","operator":"equals","compareValue":""},"disableUpdates":false,"type":"text"}},{"type":"shape","id":"4c31ac43-1883-4722-9cb9-913bc0d25304","elementConfiguration":{"inheritDimensions":"inheritNone","width":"1.9 cm","height":"19.05 cm","binding":"UserProfile.Office.LogoColor_DCU","disableUpdates":false,"type":"image"}},{"type":"shape","id":"a82db996-afc6-4087-aa5a-d51b0f0bee2f","elementConfiguration":{"inheritDimensions":"inheritNone","width":"6.05 cm","height":"1.9 cm","binding":"UserProfile.EkstraLogo.ExtraLogoSix_PP_DCU_{{DocumentLanguage}}","disableUpdates":false,"type":"image"}},{"type":"shape","id":"c8389822-fb96-4398-95d8-182459c0423f","elementConfiguration":{"inheritDimensions":"inheritWidth","width":"1.91 cm","binding":"UserProfile.Office.LogoH_PP_DCU","disableUpdates":false,"type":"image"}},{"type":"shape","id":"a59fbc95-f958-4d25-bd9a-762d1b97b4fd","elementConfiguration":{"binding":"UserProfile.Office.Virksomhed_{{DocumentLanguage}}","disableUpdates":false,"type":"text"}},{"type":"shape","id":"e45bdb66-735d-47e2-a0dd-234e7837c26f","elementConfiguration":{"binding":"UserProfile.CenterFreeText","visibility":{"action":"hide","binding":"UserProfile.Centers.CenterUI","operator":"notEquals","compareValue":"Intet valgt"},"disableUpdates":false,"type":"text"}},{"type":"shape","id":"d2bee13d-7c87-4756-a1fa-664ab9e6ac45","elementConfiguration":{"binding":"UserProfile.Centers.Center_{{DocumentLanguage}}","visibility":{"action":"hide","binding":"UserProfile.Centers.CenterUI","operator":"equals","compareValue":"Intet valgt"},"disableUpdates":false,"type":"text"}},{"type":"shape","id":"4dda4036-98b2-42a4-a2c2-93edfa66ef6d","elementConfiguration":{"binding":"Form.PresentationTitle","disableUpdates":false,"type":"text"}},{"type":"shape","id":"3d3c4b7a-bcc8-4658-869b-bdd096983b33","elementConfiguration":{"inheritDimensions":"inheritNone","width":"1.9 cm","height":"1.9 cm","binding":"UserProfile.Office.LogoColor_DCU","disableUpdates":false,"type":"image"}},{"type":"shape","id":"fd6fe772-42fe-4deb-970d-ff910f24d298","elementConfiguration":{"inheritDimensions":"inheritNone","width":"3.68 cm","height":"1.17 cm","binding":"UserProfile.EkstraLogo.ExtraLogoPPNEGDCU_{{DocumentLanguage}}","disableUpdates":false,"type":"image"}},{"type":"shape","id":"149483aa-0459-46bb-b416-96dd2ca43e72","elementConfiguration":{"inheritDimensions":"inheritNone","width":"2.42 cm","height":"2.5 cm","binding":"UserProfile.EkstraLogo.ExtraLogoFive_PP_DCU_{{DocumentLanguage}}","disableUpdates":false,"type":"image"}},{"type":"shape","id":"c7adb58d-8ccb-44c8-b2c7-6d6e3283ebdf","elementConfiguration":{"inheritDimensions":"inheritNone","width":"2.42 cm","height":"2.5 cm","binding":"UserProfile.EkstraLogo.ExtraLogoTwo_PP_DCU_{{DocumentLanguage}}","disableUpdates":false,"type":"image"}},{"type":"shape","id":"e3aec226-ce87-4f1e-9730-49c43d4887b8","elementConfiguration":{"binding":"UserProfile.Name","visibility":{"action":"hide","binding":"Form.Manuel_dato","operator":"notEquals","compareValue":""},"disableUpdates":false,"type":"text"}},{"type":"shape","id":"578e9232-c971-4db3-9317-b0ca24de66d0","elementConfiguration":{"binding":"Form.Manuel_dato","visibility":{"action":"hide","operator":"equals","compareValue":""},"disableUpdates":false,"type":"text"}},{"type":"shape","id":"849d8d41-4ac2-45dd-8ba1-0e79b8c5810e","elementConfiguration":{"inheritDimensions":"inheritNone","width":"6.05 cm","height":"1.9 cm","binding":"UserProfile.EkstraLogo.ExtraLogoSix_PP_DCU_{{DocumentLanguage}}","disableUpdates":false,"type":"image"}},{"type":"shape","id":"b20b4f3f-078d-4d15-b84e-121514d98a48","elementConfiguration":{"inheritDimensions":"inheritWidth","width":"1.91 cm","binding":"UserProfile.Office.LogoH_PP_DCU","disableUpdates":false,"type":"image"}},{"type":"shape","id":"8cfd7a5d-29b2-4e80-bf8a-b70c638d79b6","elementConfiguration":{"binding":"UserProfile.Office.Virksomhed_{{DocumentLanguage}}","disableUpdates":false,"type":"text"}},{"type":"shape","id":"9e6c8eab-f2e3-45fe-9c2b-7217c00fe4e4","elementConfiguration":{"binding":"UserProfile.CenterFreeText","visibility":{"action":"hide","binding":"UserProfile.Centers.CenterUI","operator":"notEquals","compareValue":"Intet valgt"},"disableUpdates":false,"type":"text"}},{"type":"shape","id":"f2f2b406-7b6c-4fa5-b20c-400cda3b0e97","elementConfiguration":{"binding":"UserProfile.Centers.Center_{{DocumentLanguage}}","visibility":{"action":"hide","binding":"UserProfile.Centers.CenterUI","operator":"equals","compareValue":"Intet valgt"},"disableUpdates":false,"type":"text"}},{"type":"shape","id":"9c9b0fa2-0aad-4adc-9488-227dd5b0accc","elementConfiguration":{"binding":"Form.PresentationTitle","disableUpdates":false,"type":"text"}},{"type":"shape","id":"9ff9714f-93b3-4f2a-a906-27b4d3bd0d1e","elementConfiguration":{"inheritDimensions":"inheritNone","width":"1.9 cm","height":"1.9 cm","binding":"UserProfile.Office.LogoColor_DCU","disableUpdates":false,"type":"image"}},{"type":"shape","id":"fd648a5f-93aa-4143-97e2-0b3e567782e4","elementConfiguration":{"inheritDimensions":"inheritNone","width":"3.68 cm","height":"1.17 cm","binding":"UserProfile.EkstraLogo.ExtraLogoPPNEGDCU_{{DocumentLanguage}}","disableUpdates":false,"type":"image"}},{"type":"shape","id":"b284c0ea-5ca8-48fa-b9e9-a9bc2f8a8ccc","elementConfiguration":{"inheritDimensions":"inheritNone","width":"2.42 cm","height":"2.5 cm","binding":"UserProfile.EkstraLogo.ExtraLogoFive_PP_DCU_{{DocumentLanguage}}","disableUpdates":false,"type":"image"}},{"type":"shape","id":"fbf1589e-6864-475a-a305-7544f6b68baa","elementConfiguration":{"inheritDimensions":"inheritNone","width":"2.42 cm","height":"2.5 cm","binding":"UserProfile.EkstraLogo.ExtraLogoTwo_PP_DCU_{{DocumentLanguage}}","disableUpdates":false,"type":"image"}},{"type":"shape","id":"1f15af89-841a-4199-bd0a-9b5214538a00","elementConfiguration":{"binding":"UserProfile.Name","visibility":{"action":"hide","binding":"Form.Manuel_dato","operator":"notEquals","compareValue":""},"disableUpdates":false,"type":"text"}},{"type":"shape","id":"eaa1c01d-31ad-4526-827b-f170ce1e4a76","elementConfiguration":{"binding":"Form.Manuel_dato","visibility":{"action":"hide","operator":"equals","compareValue":""},"disableUpdates":false,"type":"text"}},{"type":"shape","id":"2566ac7c-c706-4f5f-be24-2bcc12926f9b","elementConfiguration":{"inheritDimensions":"inheritNone","width":"6.05 cm","height":"1.9 cm","binding":"UserProfile.EkstraLogo.ExtraLogoSix_PP_DCU_{{DocumentLanguage}}","disableUpdates":false,"type":"image"}},{"type":"shape","id":"331a77a3-b069-492e-aaa0-e786480bbcd2","elementConfiguration":{"inheritDimensions":"inheritWidth","width":"1.91 cm","binding":"UserProfile.Office.LogoH_PP_DCU","disableUpdates":false,"type":"image"}},{"type":"shape","id":"9613077e-ae9f-41bd-8393-d5017b11cd58","elementConfiguration":{"inheritDimensions":"inheritNone","width":"33.89 cm","height":"19.07 cm","binding":"UserProfile.Centers.VaelgKorrektSkabelon169DCU","disableUpdates":false,"type":"image"}},{"type":"shape","id":"e9b8df2a-dfd3-48cd-ae13-9b07a7e2775c","elementConfiguration":{"inheritDimensions":"inheritNone","width":"33.89 cm","height":"19.07 cm","binding":"UserProfile.Centers.VaelgKorrektSkabelon169DCU","disableUpdates":false,"type":"image"}},{"type":"shape","id":"a5a99337-6785-4ed0-adb9-72e0b9a6a808","elementConfiguration":{"binding":"Form.PresentationTitle","disableUpdates":false,"type":"text"}},{"type":"shape","id":"52748d8d-3829-4210-9205-dfa58ca95387","elementConfiguration":{"binding":"UserProfile.Name","visibility":{"action":"hide","binding":"Form.Manuel_dato","operator":"notEquals","compareValue":""},"disableUpdates":false,"type":"text"}},{"type":"shape","id":"29d071c9-cb3e-435c-ace6-45f69001f555","elementConfiguration":{"inheritDimensions":"inheritNone","width":"3.68 cm","height":"1.17 cm","binding":"UserProfile.EkstraLogo.ExtraLogoPPNEGDCU_{{DocumentLanguage}}","disableUpdates":false,"type":"image"}},{"type":"shape","id":"981df77e-be5c-4b04-8921-ea9a2827f716","elementConfiguration":{"inheritDimensions":"inheritNone","width":"2.42 cm","height":"2.5 cm","binding":"UserProfile.EkstraLogo.ExtraLogoFive_PP_DCU_{{DocumentLanguage}}","disableUpdates":false,"type":"image"}},{"type":"shape","id":"367ff26c-2e06-49dd-a710-72c462f549d7","elementConfiguration":{"inheritDimensions":"inheritNone","width":"2.42 cm","height":"2.5 cm","binding":"UserProfile.EkstraLogo.ExtraLogoTwo_PP_DCU_{{DocumentLanguage}}","disableUpdates":false,"type":"image"}},{"type":"shape","id":"bb116fd4-89e0-4154-9a0c-6d07f229b2c7","elementConfiguration":{"binding":"UserProfile.Office.Virksomhed_{{DocumentLanguage}}","disableUpdates":false,"type":"text"}},{"type":"shape","id":"fc6622b7-32b0-4716-9930-acfbed461ed5","elementConfiguration":{"binding":"UserProfile.CenterFreeText","visibility":{"action":"hide","binding":"UserProfile.Centers.CenterUI","operator":"notEquals","compareValue":"Intet valgt"},"disableUpdates":false,"type":"text"}},{"type":"shape","id":"9d353186-843d-4cbf-a7dd-c583903293a2","elementConfiguration":{"binding":"UserProfile.Centers.Center_{{DocumentLanguage}}","visibility":{"action":"hide","binding":"UserProfile.Centers.CenterUI","operator":"equals","compareValue":"Intet valgt","compareValues":[]},"disableUpdates":false,"type":"text"}},{"type":"shape","id":"6fcecdc3-325e-40bb-ac00-bd449c6e675a","elementConfiguration":{"binding":"Form.Manuel_dato","visibility":{"action":"hide","operator":"equals","compareValue":""},"disableUpdates":false,"type":"text"}},{"type":"shape","id":"5c2ca35c-dc27-4368-a0ed-e773bfaaca8e","elementConfiguration":{"inheritDimensions":"inheritNone","width":"1.9 cm","height":"19.05 cm","binding":"UserProfile.Office.LogoColor_DCU","disableUpdates":false,"type":"image"}},{"type":"shape","id":"1a1fe7a3-ecd0-4af9-82e5-75dbd8fd0fb9","elementConfiguration":{"inheritDimensions":"inheritNone","width":"6.05 cm","height":"1.9 cm","binding":"UserProfile.EkstraLogo.ExtraLogoSix_PP_DCU_{{DocumentLanguage}}","disableUpdates":false,"type":"image"}},{"type":"shape","id":"1492b4a3-5110-4af7-b7dd-ec2179453d03","elementConfiguration":{"inheritDimensions":"inheritWidth","width":"1.91 cm","binding":"UserProfile.Office.LogoH_PP_DCU","disableUpdates":false,"type":"image"}},{"type":"shape","id":"95c50d0e-86b9-4a42-bf9d-276f53e7968c","elementConfiguration":{"inheritDimensions":"inheritNone","width":"1.9 cm","height":"19.05 cm","binding":"UserProfile.Office.LogoColor_DCU","disableUpdates":false,"type":"image"}},{"type":"shape","id":"d0af10c8-25ea-4e1a-a379-4ee445d0002e","elementConfiguration":{"inheritDimensions":"inheritNone","width":"3.68 cm","height":"1.17 cm","binding":"UserProfile.EkstraLogo.ExtraLogoPPNEGDCU_{{DocumentLanguage}}","disableUpdates":false,"type":"image"}},{"type":"shape","id":"b05eb499-fc06-467c-8bab-501a7dc4be72","elementConfiguration":{"binding":"UserProfile.Office.Virksomhed_{{DocumentLanguage}}","disableUpdates":false,"type":"text"}},{"type":"shape","id":"cdc43f6d-7966-4e40-bc92-ed4e7e7b072f","elementConfiguration":{"binding":"UserProfile.CenterFreeText","visibility":{"action":"hide","binding":"UserProfile.Centers.CenterUI","operator":"notEquals","compareValue":"Intet valgt","compareValues":[""]},"disableUpdates":false,"type":"text"}},{"type":"shape","id":"6c3d0b36-c944-4dd4-bc4c-03196152a11d","elementConfiguration":{"binding":"UserProfile.Centers.Center_{{DocumentLanguage}}","visibility":{"action":"hide","binding":"UserProfile.Centers.CenterUI","operator":"equals","compareValue":"Intet valgt"},"disableUpdates":false,"type":"text"}},{"type":"shape","id":"8c2e0486-9aaa-43a2-818d-0eb91b164f65","elementConfiguration":{"binding":"Form.PresentationTitle","disableUpdates":false,"type":"text"}},{"type":"shape","id":"2c5dc769-ef9f-4ce6-a7da-9509534d91e0","elementConfiguration":{"inheritDimensions":"inheritNone","width":"2.42 cm","height":"2.5 cm","binding":"UserProfile.EkstraLogo.ExtraLogoFive_PP_DCU_{{DocumentLanguage}}","disableUpdates":false,"type":"image"}},{"type":"shape","id":"a6a6c57c-24ae-4e15-8d4b-9069d84866c6","elementConfiguration":{"inheritDimensions":"inheritNone","width":"2.42 cm","height":"2.5 cm","binding":"UserProfile.EkstraLogo.ExtraLogoTwo_PP_DCU_{{DocumentLanguage}}","disableUpdates":false,"type":"image"}},{"type":"shape","id":"cfa62baa-24ae-4c1b-80fc-a3b4587bfa7e","elementConfiguration":{"binding":"UserProfile.Name","visibility":{"action":"hide","binding":"Form.Manuel_dato","operator":"notEquals","compareValue":""},"disableUpdates":false,"type":"text"}},{"type":"shape","id":"3fe5effb-4f86-4d4f-bdc9-5681010ac379","elementConfiguration":{"binding":"Form.Manuel_dato","visibility":{"action":"hide","operator":"equals","compareValue":""},"disableUpdates":false,"type":"text"}},{"type":"shape","id":"182395c0-f374-4d53-a230-8c2d5babc2e3","elementConfiguration":{"inheritDimensions":"inheritNone","width":"6.05 cm","height":"1.9 cm","binding":"UserProfile.EkstraLogo.ExtraLogoSixNEG_PP_DCU_{{DocumentLanguage}}","disableUpdates":false,"type":"image"}},{"type":"shape","id":"76fa4d45-daf2-4caf-91db-a4989dffa4b0","elementConfiguration":{"inheritDimensions":"inheritWidth","width":"1.91 cm","binding":"UserProfile.Office.LogoH_PP_DCU","disableUpdates":false,"type":"image"}},{"type":"shape","id":"6c22aa8c-8b07-4b82-a809-707a4cb7dbb1","elementConfiguration":{"inheritDimensions":"inheritNone","width":"33.89 cm","height":"19.07 cm","binding":"UserProfile.Centers.VaelgKorrektSkabelon169DCU","disableUpdates":false,"type":"image"}},{"type":"shape","id":"adfd849c-c037-4517-83c0-6076b3992235","elementConfiguration":{"inheritDimensions":"inheritNone","width":"33.89 cm","height":"19.07 cm","binding":"UserProfile.Centers.VaelgKorrektSkabelon169DCU","disableUpdates":false,"type":"image"}},{"type":"shape","id":"5a24f27e-a91f-40e4-9a57-11bca2912093","elementConfiguration":{"binding":"Form.PresentationTitle","disableUpdates":false,"type":"text"}},{"type":"shape","id":"27f04b40-1f52-4ad2-8673-19146f74321f","elementConfiguration":{"binding":"UserProfile.Name","visibility":{"action":"hide","binding":"Form.Manuel_dato","operator":"notEquals","compareValue":""},"disableUpdates":false,"type":"text"}},{"type":"shape","id":"5a4e4ddd-03a0-48ad-86fc-790885a0b952","elementConfiguration":{"inheritDimensions":"inheritNone","width":"3.68 cm","height":"1.17 cm","binding":"UserProfile.EkstraLogo.ExtraLogoPPNEGDCU_{{DocumentLanguage}}","disableUpdates":false,"type":"image"}},{"type":"shape","id":"4ffc839e-ffa0-402c-b881-b2c0dbe1055b","elementConfiguration":{"inheritDimensions":"inheritNone","width":"2.42 cm","height":"2.5 cm","binding":"UserProfile.EkstraLogo.ExtraLogoFive_PP_DCU_{{DocumentLanguage}}","disableUpdates":false,"type":"image"}},{"type":"shape","id":"535adf4f-c254-4643-ae70-0ad135727cf8","elementConfiguration":{"inheritDimensions":"inheritNone","width":"2.42 cm","height":"2.5 cm","binding":"UserProfile.EkstraLogo.ExtraLogoTwo_PP_DCU_{{DocumentLanguage}}","disableUpdates":false,"type":"image"}},{"type":"shape","id":"69af78d6-1dc1-4185-98cc-7552cccc32de","elementConfiguration":{"binding":"UserProfile.Office.Virksomhed_{{DocumentLanguage}}","disableUpdates":false,"type":"text"}},{"type":"shape","id":"8cc16c53-fb3f-4121-a465-a2a0d08efebd","elementConfiguration":{"binding":"UserProfile.CenterFreeText","visibility":{"action":"hide","binding":"UserProfile.Centers.CenterUI","operator":"notEquals","compareValue":"Intet valgt"},"disableUpdates":false,"type":"text"}},{"type":"shape","id":"2b664e3c-66a8-4cd4-b093-19b953a99368","elementConfiguration":{"binding":"UserProfile.Centers.Center_{{DocumentLanguage}}","visibility":{"action":"hide","binding":"UserProfile.Centers.CenterUI","operator":"equals","compareValue":"Intet valgt","compareValues":[]},"disableUpdates":false,"type":"text"}},{"type":"shape","id":"0ca78db9-1f34-4a6a-b3d5-428e8457d8fb","elementConfiguration":{"binding":"Form.Manuel_dato","visibility":{"action":"hide","operator":"equals","compareValue":""},"disableUpdates":false,"type":"text"}},{"type":"shape","id":"4923178a-10aa-4170-9643-9299c229cb90","elementConfiguration":{"inheritDimensions":"inheritNone","width":"1.9 cm","height":"19.05 cm","binding":"UserProfile.Office.LogoColor_DCU","disableUpdates":false,"type":"image"}},{"type":"shape","id":"db72db19-1314-4172-8faf-62192405918f","elementConfiguration":{"inheritDimensions":"inheritNone","width":"6.05 cm","height":"1.9 cm","binding":"UserProfile.EkstraLogo.ExtraLogoSix_PP_DCU_{{DocumentLanguage}}","disableUpdates":false,"type":"image"}},{"type":"shape","id":"301f4d91-59ed-411c-b521-10636e29b545","elementConfiguration":{"inheritDimensions":"inheritWidth","width":"1.91 cm","binding":"UserProfile.Office.LogoH_PP_DCU","disableUpdates":false,"type":"image"}},{"type":"shape","id":"30e482d2-9763-4898-a2c3-afc1ff55d0ae","elementConfiguration":{"binding":"UserProfile.Office.Virksomhed_{{DocumentLanguage}}","disableUpdates":false,"type":"text"}},{"type":"shape","id":"f425a9da-88dc-4a36-935e-af797cdf8851","elementConfiguration":{"binding":"UserProfile.CenterFreeText","visibility":{"action":"hide","binding":"UserProfile.Centers.CenterUI","operator":"notEquals","compareValue":"Intet valgt","compareValues":[""]},"disableUpdates":false,"type":"text"}},{"type":"shape","id":"52a0aa78-b6c6-4eab-8b6b-28c4674cd791","elementConfiguration":{"binding":"UserProfile.Centers.Center_{{DocumentLanguage}}","visibility":{"action":"hide","binding":"UserProfile.Centers.CenterUI","operator":"equals","compareValue":"Intet valgt"},"disableUpdates":false,"type":"text"}},{"type":"shape","id":"fca786ef-189a-454a-a63b-5203104074e7","elementConfiguration":{"binding":"Form.PresentationTitle","disableUpdates":false,"type":"text"}},{"type":"shape","id":"5c2bdb75-f313-4d56-a414-ca5d409461a4","elementConfiguration":{"inheritDimensions":"inheritNone","width":"1.9 cm","height":"1.9 cm","binding":"UserProfile.Office.LogoColor_DCU","disableUpdates":false,"type":"image"}},{"type":"shape","id":"dbf14ce2-3b6e-415b-910e-80565a877031","elementConfiguration":{"inheritDimensions":"inheritNone","width":"3.68 cm","height":"1.17 cm","binding":"UserProfile.EkstraLogo.ExtraLogoPPNEGDCU_{{DocumentLanguage}}","disableUpdates":false,"type":"image"}},{"type":"shape","id":"87a43b95-6add-4281-9606-e446e51b7b42","elementConfiguration":{"inheritDimensions":"inheritNone","width":"2.42 cm","height":"2.5 cm","binding":"UserProfile.EkstraLogo.ExtraLogoFive_PP_DCU_{{DocumentLanguage}}","disableUpdates":false,"type":"image"}},{"type":"shape","id":"2963ee64-8589-46cf-b0ab-edba570b4850","elementConfiguration":{"inheritDimensions":"inheritNone","width":"2.42 cm","height":"2.5 cm","binding":"UserProfile.EkstraLogo.ExtraLogoTwo_PP_DCU_{{DocumentLanguage}}","disableUpdates":false,"type":"image"}},{"type":"shape","id":"acc0f07b-7b50-4c37-a72f-08dbd206efdd","elementConfiguration":{"binding":"UserProfile.Name","visibility":{"action":"hide","binding":"Form.Manuel_dato","operator":"notEquals","compareValue":""},"disableUpdates":false,"type":"text"}},{"type":"shape","id":"89441785-1e7e-4c0b-8700-eb44117e310e","elementConfiguration":{"binding":"Form.Manuel_dato","visibility":{"action":"hide","operator":"equals","compareValue":""},"disableUpdates":false,"type":"text"}},{"type":"shape","id":"53ae9c5f-1cb4-4c1a-bfe7-733a4796c654","elementConfiguration":{"inheritDimensions":"inheritNone","width":"6.05 cm","height":"1.9 cm","binding":"UserProfile.EkstraLogo.ExtraLogoSix_PP_DCU_{{DocumentLanguage}}","disableUpdates":false,"type":"image"}},{"type":"shape","id":"3975a2ac-3f90-467c-84da-c4f38f6421fc","elementConfiguration":{"inheritDimensions":"inheritWidth","width":"1.91 cm","binding":"UserProfile.Office.LogoH_PP_DCU","disableUpdates":false,"type":"image"}},{"type":"shape","id":"13c0c3c0-fd02-4134-a050-b8bc2a445986","elementConfiguration":{"binding":"UserProfile.Office.Virksomhed_{{DocumentLanguage}}","disableUpdates":false,"type":"text"}},{"type":"shape","id":"593a994c-19dc-4cf7-8312-a71dd5bfd825","elementConfiguration":{"binding":"UserProfile.CenterFreeText","visibility":{"action":"hide","binding":"UserProfile.Centers.CenterUI","operator":"notEquals","compareValue":"Intet valgt"},"disableUpdates":false,"type":"text"}},{"type":"shape","id":"83f62cf3-8eb1-43eb-a0d2-bdf557b360ec","elementConfiguration":{"binding":"UserProfile.Centers.Center_{{DocumentLanguage}}","visibility":{"action":"hide","binding":"UserProfile.Centers.CenterUI","operator":"equals","compareValue":"Intet valgt"},"disableUpdates":false,"type":"text"}},{"type":"shape","id":"16209388-3986-4294-ae00-2bcb3fca84c0","elementConfiguration":{"binding":"Form.PresentationTitle","disableUpdates":false,"type":"text"}},{"type":"shape","id":"8e0a7e12-fb05-49dc-8a4f-43280de758fc","elementConfiguration":{"inheritDimensions":"inheritNone","width":"1.9 cm","height":"1.9 cm","binding":"UserProfile.Office.LogoColor_DCU","disableUpdates":false,"type":"image"}},{"type":"shape","id":"d34ea5e3-877a-459b-a789-92d78f5580c6","elementConfiguration":{"inheritDimensions":"inheritNone","width":"3.68 cm","height":"1.17 cm","binding":"UserProfile.EkstraLogo.ExtraLogoPPNEGDCU_{{DocumentLanguage}}","disableUpdates":false,"type":"image"}},{"type":"shape","id":"7bd60804-d577-42cb-9e52-42ad3916c705","elementConfiguration":{"inheritDimensions":"inheritNone","width":"2.42 cm","height":"2.5 cm","binding":"UserProfile.EkstraLogo.ExtraLogoFive_PP_DCU_{{DocumentLanguage}}","disableUpdates":false,"type":"image"}},{"type":"shape","id":"670cb1dc-b0fe-4319-8651-5923d7fe18ea","elementConfiguration":{"inheritDimensions":"inheritNone","width":"2.42 cm","height":"2.5 cm","binding":"UserProfile.EkstraLogo.ExtraLogoTwo_PP_DCU_{{DocumentLanguage}}","disableUpdates":false,"type":"image"}},{"type":"shape","id":"784eca64-a924-448a-bab7-0243564e163a","elementConfiguration":{"binding":"UserProfile.Name","visibility":{"action":"hide","binding":"Form.Manuel_dato","operator":"notEquals","compareValue":""},"disableUpdates":false,"type":"text"}},{"type":"shape","id":"de0d4af4-63a6-41f2-9fda-0ceb99203cda","elementConfiguration":{"binding":"Form.Manuel_dato","visibility":{"action":"hide","operator":"equals","compareValue":""},"disableUpdates":false,"type":"text"}},{"type":"shape","id":"5f14318f-bdc9-4872-a417-216a5d805007","elementConfiguration":{"inheritDimensions":"inheritNone","width":"6.05 cm","height":"1.9 cm","binding":"UserProfile.EkstraLogo.ExtraLogoSix_PP_DCU_{{DocumentLanguage}}","disableUpdates":false,"type":"image"}},{"type":"shape","id":"68769aad-fb7c-4706-9ded-d855d6e160f0","elementConfiguration":{"inheritDimensions":"inheritWidth","width":"1.91 cm","binding":"UserProfile.Office.LogoH_PP_DCU","disableUpdates":false,"type":"image"}},{"type":"shape","id":"61489100-703d-4952-b8ec-c0a4ba6b71e6","elementConfiguration":{"binding":"UserProfile.Office.Virksomhed_{{DocumentLanguage}}","disableUpdates":false,"type":"text"}},{"type":"shape","id":"2d758798-fddf-4386-a8e0-7287d0f6804e","elementConfiguration":{"binding":"UserProfile.CenterFreeText","visibility":{"action":"hide","binding":"UserProfile.Centers.CenterUI","operator":"notEquals","compareValue":"Intet valgt"},"disableUpdates":false,"type":"text"}},{"type":"shape","id":"e5d76ae2-98bb-4375-8c57-e8156503ac96","elementConfiguration":{"binding":"UserProfile.Centers.Center_{{DocumentLanguage}}","visibility":{"action":"hide","binding":"UserProfile.Centers.CenterUI","operator":"equals","compareValue":"Intet valgt"},"disableUpdates":false,"type":"text"}},{"type":"shape","id":"2ed1958d-8a1c-455f-9b96-488309816319","elementConfiguration":{"binding":"Form.PresentationTitle","disableUpdates":false,"type":"text"}},{"type":"shape","id":"fc8304a2-adaf-4257-8c7b-9e46f924f36e","elementConfiguration":{"inheritDimensions":"inheritNone","width":"1.9 cm","height":"1.9 cm","binding":"UserProfile.Office.LogoColor_DCU","disableUpdates":false,"type":"image"}},{"type":"shape","id":"32d4342c-7732-4e51-9636-2c0c814c250b","elementConfiguration":{"inheritDimensions":"inheritNone","width":"3.68 cm","height":"1.17 cm","binding":"UserProfile.EkstraLogo.ExtraLogoPPNEGDCU_{{DocumentLanguage}}","disableUpdates":false,"type":"image"}},{"type":"shape","id":"0b54297d-6bad-447a-89c7-a49a9242296a","elementConfiguration":{"inheritDimensions":"inheritNone","width":"2.42 cm","height":"2.5 cm","binding":"UserProfile.EkstraLogo.ExtraLogoFive_PP_DCU_{{DocumentLanguage}}","disableUpdates":false,"type":"image"}},{"type":"shape","id":"fcf067d4-04fc-4ba7-a383-a338528637ab","elementConfiguration":{"inheritDimensions":"inheritNone","width":"2.42 cm","height":"2.5 cm","binding":"UserProfile.EkstraLogo.ExtraLogoTwo_PP_DCU_{{DocumentLanguage}}","disableUpdates":false,"type":"image"}},{"type":"shape","id":"745c670e-6e65-4889-96dd-c5c3903c4fe9","elementConfiguration":{"binding":"UserProfile.Name","visibility":{"action":"hide","binding":"Form.Manuel_dato","operator":"notEquals","compareValue":""},"disableUpdates":false,"type":"text"}},{"type":"shape","id":"9b3249fb-6238-43b7-8de0-10a9db1dd3d3","elementConfiguration":{"binding":"Form.Manuel_dato","visibility":{"action":"hide","operator":"equals","compareValue":""},"disableUpdates":false,"type":"text"}},{"type":"shape","id":"fa7eca50-e2e1-4e84-810f-f6aad17fb88b","elementConfiguration":{"inheritDimensions":"inheritNone","width":"6.05 cm","height":"1.9 cm","binding":"UserProfile.EkstraLogo.ExtraLogoSix_PP_DCU_{{DocumentLanguage}}","disableUpdates":false,"type":"image"}},{"type":"shape","id":"2c65a038-321e-4db2-98a8-f1557b4c1417","elementConfiguration":{"inheritDimensions":"inheritWidth","width":"1.91 cm","binding":"UserProfile.Office.LogoH_PP_DCU","disableUpdates":false,"type":"image"}},{"type":"shape","id":"268f6771-b116-47ce-998f-46c7503181fa","elementConfiguration":{"inheritDimensions":"inheritNone","width":"1.9 cm","height":"1.9 cm","binding":"UserProfile.Office.LogoColor_DCU","disableUpdates":false,"type":"image"}},{"type":"shape","id":"29ef94a0-c0b3-428c-a2e2-9625c1d26843","elementConfiguration":{"binding":"UserProfile.Office.Virksomhed_{{DocumentLanguage}}","disableUpdates":false,"type":"text"}},{"type":"shape","id":"f4a64dd5-5f3a-4aae-8996-ca5a5d0871d3","elementConfiguration":{"binding":"UserProfile.CenterFreeText","visibility":{"action":"hide","binding":"UserProfile.Centers.CenterUI","operator":"notEquals","compareValue":"Intet valgt"},"disableUpdates":false,"type":"text"}},{"type":"shape","id":"da2b35da-28d8-4e72-8b6d-0d54f093aa78","elementConfiguration":{"binding":"UserProfile.Centers.Center_{{DocumentLanguage}}","visibility":{"action":"hide","binding":"UserProfile.Centers.CenterUI","operator":"equals","compareValue":"Intet valgt"},"disableUpdates":false,"type":"text"}},{"type":"shape","id":"3fabfcf7-e9a9-4f6d-b804-225f4d7011a7","elementConfiguration":{"binding":"Form.PresentationTitle","disableUpdates":false,"type":"text"}},{"type":"shape","id":"08c5dcc4-94d7-4d70-8f33-2161d0276896","elementConfiguration":{"inheritDimensions":"inheritNone","width":"3.68 cm","height":"1.17 cm","binding":"UserProfile.EkstraLogo.ExtraLogoPPNEGDCU_{{DocumentLanguage}}","disableUpdates":false,"type":"image"}},{"type":"shape","id":"dff699e3-4d7e-4d71-9255-6f3d86d240fb","elementConfiguration":{"inheritDimensions":"inheritNone","width":"2.42 cm","height":"2.5 cm","binding":"UserProfile.EkstraLogo.ExtraLogoFive_PP_DCU_{{DocumentLanguage}}","disableUpdates":false,"type":"image"}},{"type":"shape","id":"751d7529-755a-466a-91df-ec976ff18727","elementConfiguration":{"inheritDimensions":"inheritNone","width":"2.42 cm","height":"2.5 cm","binding":"UserProfile.EkstraLogo.ExtraLogoTwo_PP_DCU_{{DocumentLanguage}}","disableUpdates":false,"type":"image"}},{"type":"shape","id":"95b47385-2ce7-4b17-8fd6-c2552d9b6565","elementConfiguration":{"binding":"UserProfile.Name","visibility":{"action":"hide","binding":"Form.Manuel_dato","operator":"notEquals","compareValue":""},"disableUpdates":false,"type":"text"}},{"type":"shape","id":"752580b8-b8a0-4fd8-afb5-74768469a680","elementConfiguration":{"binding":"Form.Manuel_dato","visibility":{"action":"hide","operator":"equals","compareValue":""},"disableUpdates":false,"type":"text"}},{"type":"shape","id":"ab9f6d06-f7ea-44bb-8c60-bc8f3b6dc863","elementConfiguration":{"inheritDimensions":"inheritNone","width":"6.05 cm","height":"1.9 cm","binding":"UserProfile.EkstraLogo.ExtraLogoSix_PP_DCU_{{DocumentLanguage}}","disableUpdates":false,"type":"image"}},{"type":"shape","id":"b49c841f-d71f-4c92-a469-8d59cc91234e","elementConfiguration":{"inheritDimensions":"inheritWidth","width":"1.91 cm","binding":"UserProfile.Office.LogoH_PP_DCU","disableUpdates":false,"type":"image"}},{"type":"shape","id":"c22c7ff0-278e-4c18-ac43-f82ca0558725","elementConfiguration":{"binding":"UserProfile.Office.Virksomhed_{{DocumentLanguage}}","disableUpdates":false,"type":"text"}},{"type":"shape","id":"4bfe733f-1894-4d64-91af-8de892e1456d","elementConfiguration":{"binding":"UserProfile.CenterFreeText","visibility":{"action":"hide","binding":"UserProfile.Centers.CenterUI","operator":"notEquals","compareValue":"Intet valgt"},"disableUpdates":false,"type":"text"}},{"type":"shape","id":"41a73a4f-56f3-423c-a774-d02843331c78","elementConfiguration":{"binding":"UserProfile.Centers.Center_{{DocumentLanguage}}","visibility":{"action":"hide","binding":"UserProfile.Centers.CenterUI","operator":"equals","compareValue":"Intet valgt"},"disableUpdates":false,"type":"text"}},{"type":"shape","id":"7d3b08f7-7800-4f37-be1d-a17b15e2d5b0","elementConfiguration":{"binding":"Form.PresentationTitle","disableUpdates":false,"type":"text"}},{"type":"shape","id":"ae85dfa9-9968-4d9e-9f5e-03a5b76c5b28","elementConfiguration":{"inheritDimensions":"inheritNone","width":"1.9 cm","height":"1.9 cm","binding":"UserProfile.Office.LogoColor_DCU","disableUpdates":false,"type":"image"}},{"type":"shape","id":"f4ca3820-4749-40d1-aad1-8f5a6abf7a83","elementConfiguration":{"inheritDimensions":"inheritNone","width":"3.68 cm","height":"1.17 cm","binding":"UserProfile.EkstraLogo.ExtraLogoPPNEGDCU_{{DocumentLanguage}}","disableUpdates":false,"type":"image"}},{"type":"shape","id":"65027e4d-8d4c-4ac9-b3ba-7fa75686e3bc","elementConfiguration":{"inheritDimensions":"inheritNone","width":"2.42 cm","height":"2.5 cm","binding":"UserProfile.EkstraLogo.ExtraLogoFive_PP_DCU_{{DocumentLanguage}}","disableUpdates":false,"type":"image"}},{"type":"shape","id":"bf3c7703-dfd9-4402-8aaf-46755fcffede","elementConfiguration":{"inheritDimensions":"inheritNone","width":"2.42 cm","height":"2.5 cm","binding":"UserProfile.EkstraLogo.ExtraLogoTwo_PP_DCU_{{DocumentLanguage}}","disableUpdates":false,"type":"image"}},{"type":"shape","id":"2f5b187c-d725-4bd1-9deb-73811f62cedb","elementConfiguration":{"binding":"UserProfile.Name","visibility":{"action":"hide","binding":"Form.Manuel_dato","operator":"notEquals","compareValue":""},"disableUpdates":false,"type":"text"}},{"type":"shape","id":"3e1cbbf7-4fe5-4f06-9f76-8cc2f4cb0612","elementConfiguration":{"binding":"Form.Manuel_dato","visibility":{"action":"hide","operator":"equals","compareValue":""},"disableUpdates":false,"type":"text"}},{"type":"shape","id":"8e005e40-15c3-4545-b9e6-a7417a6affc1","elementConfiguration":{"inheritDimensions":"inheritNone","width":"6.05 cm","height":"1.9 cm","binding":"UserProfile.EkstraLogo.ExtraLogoSix_PP_DCU_{{DocumentLanguage}}","disableUpdates":false,"type":"image"}},{"type":"shape","id":"593600a3-d498-41e7-a4b8-1892f164fa99","elementConfiguration":{"inheritDimensions":"inheritWidth","width":"1.91 cm","binding":"UserProfile.Office.LogoH_PP_DCU","disableUpdates":false,"type":"image"}},{"type":"shape","id":"0f6e0e46-0f15-4b6f-a79b-19368528775a","elementConfiguration":{"inheritDimensions":"inheritNone","width":"3.68 cm","height":"1.17 cm","binding":"UserProfile.EkstraLogo.ExtraLogoPPDCU_{{DocumentLanguage}}","disableUpdates":false,"type":"image"}},{"type":"shape","id":"817c2e7f-6c66-4960-80cc-cae93faaa1ef","elementConfiguration":{"binding":"UserProfile.Office.Virksomhed_{{DocumentLanguage}}","disableUpdates":false,"type":"text"}},{"type":"shape","id":"9f090fc9-e2c0-4daf-aeb7-7cf757a1cc38","elementConfiguration":{"binding":"UserProfile.CenterFreeText","visibility":{"action":"hide","binding":"UserProfile.Centers.CenterUI","operator":"notEquals","compareValue":"Intet valgt"},"disableUpdates":false,"type":"text"}},{"type":"shape","id":"54c6004d-50d3-4921-adde-49e65dfafd0e","elementConfiguration":{"binding":"UserProfile.Centers.Center_{{DocumentLanguage}}","visibility":{"action":"hide","binding":"UserProfile.Centers.CenterUI","operator":"equals","compareValue":"Intet valgt"},"disableUpdates":false,"type":"text"}},{"type":"shape","id":"ed9bf821-9b57-4b26-b6d6-f2f18444d429","elementConfiguration":{"binding":"Form.PresentationTitle","disableUpdates":false,"type":"text"}},{"type":"shape","id":"b89974de-e30b-4976-a41c-f751449fde78","elementConfiguration":{"inheritDimensions":"inheritNone","width":"2.42 cm","height":"2.5 cm","binding":"UserProfile.EkstraLogo.ExtraLogoFive_PP_DCU_{{DocumentLanguage}}","disableUpdates":false,"type":"image"}},{"type":"shape","id":"e21e3e13-d098-41d8-a73d-b0eecebc5a06","elementConfiguration":{"inheritDimensions":"inheritNone","width":"2.42 cm","height":"2.5 cm","binding":"UserProfile.EkstraLogo.ExtraLogoTwo_PP_DCU_{{DocumentLanguage}}","disableUpdates":false,"type":"image"}},{"type":"shape","id":"b9f4b08a-849d-4837-a997-631cf714ef50","elementConfiguration":{"binding":"UserProfile.Name","visibility":{"action":"hide","binding":"Form.Manuel_dato","operator":"notEquals","compareValue":""},"disableUpdates":false,"type":"text"}},{"type":"shape","id":"22b0fff1-1acc-4f46-9c58-bd6edca0c477","elementConfiguration":{"binding":"Form.Manuel_dato","visibility":{"action":"hide","operator":"equals","compareValue":""},"disableUpdates":false,"type":"text"}},{"type":"shape","id":"186dde9a-9889-443a-9257-c4d2f2bcb035","elementConfiguration":{"inheritDimensions":"inheritNone","width":"1.9 cm","height":"19.05 cm","binding":"UserProfile.Office.LogoColor_DCU","disableUpdates":false,"type":"image"}},{"type":"shape","id":"300861e4-f86c-4c8e-93cc-131b54af9d82","elementConfiguration":{"inheritDimensions":"inheritNone","width":"6.05 cm","height":"1.9 cm","binding":"UserProfile.EkstraLogo.ExtraLogoSix_PP_DCU_{{DocumentLanguage}}","disableUpdates":false,"type":"image"}},{"type":"shape","id":"9fe15252-160c-4a35-921c-7ed898bc1994","elementConfiguration":{"inheritDimensions":"inheritWidth","width":"1.91 cm","binding":"UserProfile.Office.LogoH_PP_DCU","disableUpdates":false,"type":"image"}},{"type":"shape","id":"f087a544-bfae-4ee8-a7c6-d9db2cd5303a","elementConfiguration":{"binding":"UserProfile.Office.Virksomhed_{{DocumentLanguage}}","disableUpdates":false,"type":"text"}},{"type":"shape","id":"8db7994c-2609-4903-914f-fd7272adb5cb","elementConfiguration":{"binding":"UserProfile.CenterFreeText","visibility":{"action":"hide","binding":"UserProfile.Centers.CenterUI","operator":"notEquals","compareValue":"Intet valgt"},"disableUpdates":false,"type":"text"}},{"type":"shape","id":"8905f6bb-868d-48ec-89a3-ad91e51ade6b","elementConfiguration":{"binding":"UserProfile.Centers.Center_{{DocumentLanguage}}","visibility":{"action":"hide","binding":"UserProfile.Centers.CenterUI","operator":"equals","compareValue":"Intet valgt"},"disableUpdates":false,"type":"text"}},{"type":"shape","id":"7c4a95ac-9a7e-46ca-ad61-dc1cc5e48553","elementConfiguration":{"binding":"Form.PresentationTitle","disableUpdates":false,"type":"text"}},{"type":"shape","id":"88f616be-3ca5-4104-8727-43be75799cb8","elementConfiguration":{"inheritDimensions":"inheritNone","width":"1.9 cm","height":"1.9 cm","binding":"UserProfile.Office.LogoColor_DCU","disableUpdates":false,"type":"image"}},{"type":"shape","id":"0a83488a-5beb-44db-ac4e-14a920c2b30d","elementConfiguration":{"inheritDimensions":"inheritNone","width":"3.68 cm","height":"1.17 cm","binding":"UserProfile.EkstraLogo.ExtraLogoPPNEGDCU_{{DocumentLanguage}}","disableUpdates":false,"type":"image"}},{"type":"shape","id":"1bb0b574-00d0-4118-a14d-74d6a0e1f444","elementConfiguration":{"inheritDimensions":"inheritNone","width":"2.42 cm","height":"2.5 cm","binding":"UserProfile.EkstraLogo.ExtraLogoFive_PP_DCU_{{DocumentLanguage}}","disableUpdates":false,"type":"image"}},{"type":"shape","id":"560afb8b-6316-4285-904a-9c956028ab52","elementConfiguration":{"inheritDimensions":"inheritNone","width":"2.42 cm","height":"2.5 cm","binding":"UserProfile.EkstraLogo.ExtraLogoTwo_PP_DCU_{{DocumentLanguage}}","disableUpdates":false,"type":"image"}},{"type":"shape","id":"6a06ff51-432d-4db3-88d9-ae9a8ea999a6","elementConfiguration":{"binding":"UserProfile.Name","visibility":{"action":"hide","binding":"Form.Manuel_dato","operator":"notEquals","compareValue":""},"disableUpdates":false,"type":"text"}},{"type":"shape","id":"d9d50c49-0efe-4c21-93ca-767de44ac385","elementConfiguration":{"binding":"Form.Manuel_dato","visibility":{"action":"hide","operator":"equals","compareValue":""},"disableUpdates":false,"type":"text"}},{"type":"shape","id":"cf2d2816-e16d-4a89-bf89-321d7f747eba","elementConfiguration":{"inheritDimensions":"inheritNone","width":"6.05 cm","height":"1.9 cm","binding":"UserProfile.EkstraLogo.ExtraLogoSix_PP_DCU_{{DocumentLanguage}}","disableUpdates":false,"type":"image"}},{"type":"shape","id":"1914d0e7-72ac-4ef5-ab6f-73f171400bd4","elementConfiguration":{"inheritDimensions":"inheritWidth","width":"1.91 cm","binding":"UserProfile.Office.LogoH_PP_DCU","disableUpdates":false,"type":"image"}},{"type":"shape","id":"0dd6f97c-db44-4e7e-a3cd-8f2461e05093","elementConfiguration":{"binding":"UserProfile.Office.Virksomhed_{{DocumentLanguage}}","disableUpdates":false,"type":"text"}},{"type":"shape","id":"bdc714a8-d20d-4719-a3c1-b2f834075ade","elementConfiguration":{"binding":"UserProfile.CenterFreeText","visibility":{"action":"hide","binding":"UserProfile.Centers.CenterUI","operator":"notEquals","compareValue":"Intet valgt"},"disableUpdates":false,"type":"text"}},{"type":"shape","id":"3d51add0-a2c5-420f-8a28-c6afd8bf729a","elementConfiguration":{"binding":"UserProfile.Centers.Center_{{DocumentLanguage}}","visibility":{"action":"hide","binding":"UserProfile.Centers.CenterUI","operator":"equals","compareValue":"Intet valgt"},"disableUpdates":false,"type":"text"}},{"type":"shape","id":"83148a1f-eba3-4303-bd6d-82076bca1a76","elementConfiguration":{"binding":"Form.PresentationTitle","disableUpdates":false,"type":"text"}},{"type":"shape","id":"a96e7003-b670-47c7-8e15-b29695d05463","elementConfiguration":{"inheritDimensions":"inheritNone","width":"2.42 cm","height":"2.5 cm","binding":"UserProfile.EkstraLogo.ExtraLogoFive_PP_DCU_{{DocumentLanguage}}","disableUpdates":false,"type":"image"}},{"type":"shape","id":"a4895ca7-0cfd-4a2b-94a3-13c4981460c0","elementConfiguration":{"inheritDimensions":"inheritNone","width":"2.42 cm","height":"2.5 cm","binding":"UserProfile.EkstraLogo.ExtraLogoTwo_PP_DCU_{{DocumentLanguage}}","disableUpdates":false,"type":"image"}},{"type":"shape","id":"b2b07c08-6616-44e7-a41a-00ffaa87d8eb","elementConfiguration":{"binding":"UserProfile.Name","visibility":{"action":"hide","binding":"Form.Manuel_dato","operator":"notEquals","compareValue":""},"disableUpdates":false,"type":"text"}},{"type":"shape","id":"afd9eac1-e16c-442f-a946-7bfd375307bf","elementConfiguration":{"binding":"Form.Manuel_dato","visibility":{"action":"hide","operator":"equals","compareValue":""},"disableUpdates":false,"type":"text"}},{"type":"shape","id":"f4a7acde-c18f-4921-a863-21c1f9e7a270","elementConfiguration":{"inheritDimensions":"inheritNone","width":"1.9 cm","height":"19.05 cm","binding":"UserProfile.Office.LogoColor_DCU","disableUpdates":false,"type":"image"}},{"type":"shape","id":"08f3f0ff-c39f-4d6c-bcfd-4e4b73446cae","elementConfiguration":{"inheritDimensions":"inheritNone","width":"3.68 cm","height":"1.17 cm","binding":"UserProfile.EkstraLogo.ExtraLogoPPNEGDCU_{{DocumentLanguage}}","disableUpdates":false,"type":"image"}},{"type":"shape","id":"e8281103-37a3-43a8-bc47-59dc2922b4e5","elementConfiguration":{"inheritDimensions":"inheritNone","width":"6.05 cm","height":"1.9 cm","binding":"UserProfile.EkstraLogo.ExtraLogoSix_PP_DCU_{{DocumentLanguage}}","disableUpdates":false,"type":"image"}},{"type":"shape","id":"a5bea9c0-d9c9-41f9-a503-c50041304607","elementConfiguration":{"inheritDimensions":"inheritWidth","width":"1.91 cm","binding":"UserProfile.Office.LogoH_PP_DCU","disableUpdates":false,"type":"image"}}],"transformationConfigurations":[{"colorTheme":"{{UserProfile.Office.ApplyColorTheme}}","originalColorThemeXml":"<a:clrScheme name=\"REGION H Hospital\" xmlns:a=\"http://schemas.openxmlformats.org/drawingml/2006/main\"><a:dk1><a:srgbClr val=\"333333\" /></a:dk1><a:lt1><a:srgbClr val=\"FFFFFF\" /></a:lt1><a:dk2><a:srgbClr val=\"575757\" /></a:dk2><a:lt2><a:srgbClr val=\"CCEBFA\" /></a:lt2><a:accent1><a:srgbClr val=\"99D7F6\" /></a:accent1><a:accent2><a:srgbClr val=\"333333\" /></a:accent2><a:accent3><a:srgbClr val=\"4DB9EF\" /></a:accent3><a:accent4><a:srgbClr val=\"666666\" /></a:accent4><a:accent5><a:srgbClr val=\"19A5EA\" /></a:accent5><a:accent6><a:srgbClr val=\"999999\" /></a:accent6><a:hlink><a:srgbClr val=\"0086CC\" /></a:hlink><a:folHlink><a:srgbClr val=\"808080\" /></a:folHlink></a:clrScheme>","disableUpdates":false,"type":"colorTheme"}],"templateName":"","templateDescription":"","enableDocumentContentUpdater":true,"version":"1.3"}]]></TemplafyTemplateConfiguration>
</file>

<file path=customXml/item5.xml><?xml version="1.0" encoding="utf-8"?>
<TemplafyFormConfiguration><![CDATA[{"formFields":[{"required":false,"placeholder":"Præsentationens titel/beskrivelse (venstre sidefod)","lines":0,"helpTexts":{"prefix":"","postfix":""},"spacing":{},"type":"textBox","name":"PresentationTitle","label":"Titel/beskrivelse","fullyQualifiedName":"PresentationTitle"},{"required":false,"placeholder":"","lines":0,"helpTexts":{"prefix":"Indsæt ønsket dato (fjerner brugernavnet)","postfix":""},"spacing":{},"type":"textBox","name":"Manuel_dato","label":"Dato","fullyQualifiedName":"Manuel_dato"}],"formDataEntries":[]}]]></TemplafyFormConfiguration>
</file>

<file path=customXml/item6.xml><?xml version="1.0" encoding="utf-8"?>
<TemplafySlideTemplateConfiguration><![CDATA[{"documentContentValidatorConfiguration":{"enableDocumentContentValidator":false,"documentContentValidatorVersion":0},"elementsMetadata":[],"slideId":"637105359336269917","enableDocumentContentUpdater":true,"version":"1.3"}]]></TemplafySlideTemplate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1D7E9E62-33BB-4D1B-A60A-11F6213652CE}">
  <ds:schemaRefs/>
</ds:datastoreItem>
</file>

<file path=customXml/itemProps2.xml><?xml version="1.0" encoding="utf-8"?>
<ds:datastoreItem xmlns:ds="http://schemas.openxmlformats.org/officeDocument/2006/customXml" ds:itemID="{5DFC8546-DDC8-489F-B7A8-6D524B97984E}">
  <ds:schemaRefs/>
</ds:datastoreItem>
</file>

<file path=customXml/itemProps3.xml><?xml version="1.0" encoding="utf-8"?>
<ds:datastoreItem xmlns:ds="http://schemas.openxmlformats.org/officeDocument/2006/customXml" ds:itemID="{E53D1538-2B10-42E3-B3A2-D052B27F0EF7}">
  <ds:schemaRefs/>
</ds:datastoreItem>
</file>

<file path=customXml/itemProps4.xml><?xml version="1.0" encoding="utf-8"?>
<ds:datastoreItem xmlns:ds="http://schemas.openxmlformats.org/officeDocument/2006/customXml" ds:itemID="{978984FF-6C25-4FD4-85EA-2F9586C8CA61}">
  <ds:schemaRefs/>
</ds:datastoreItem>
</file>

<file path=customXml/itemProps5.xml><?xml version="1.0" encoding="utf-8"?>
<ds:datastoreItem xmlns:ds="http://schemas.openxmlformats.org/officeDocument/2006/customXml" ds:itemID="{B0D2E709-FA3C-4E2D-A1F5-DD257C406372}">
  <ds:schemaRefs/>
</ds:datastoreItem>
</file>

<file path=customXml/itemProps6.xml><?xml version="1.0" encoding="utf-8"?>
<ds:datastoreItem xmlns:ds="http://schemas.openxmlformats.org/officeDocument/2006/customXml" ds:itemID="{026957DE-A263-4C3E-96D4-107DEBA1D471}">
  <ds:schemaRefs/>
</ds:datastoreItem>
</file>

<file path=customXml/itemProps7.xml><?xml version="1.0" encoding="utf-8"?>
<ds:datastoreItem xmlns:ds="http://schemas.openxmlformats.org/officeDocument/2006/customXml" ds:itemID="{BE8F26EB-1153-4B98-AAC3-D117DA0F337D}">
  <ds:schemaRefs/>
</ds:datastoreItem>
</file>

<file path=customXml/itemProps8.xml><?xml version="1.0" encoding="utf-8"?>
<ds:datastoreItem xmlns:ds="http://schemas.openxmlformats.org/officeDocument/2006/customXml" ds:itemID="{7200C2A8-2F34-4CEB-AC93-8D1E85273CDA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elkommen til Læringstræf 2</Template>
  <TotalTime>545</TotalTime>
  <Words>1285</Words>
  <Application>Microsoft Office PowerPoint</Application>
  <PresentationFormat>Widescreen</PresentationFormat>
  <Paragraphs>187</Paragraphs>
  <Slides>14</Slides>
  <Notes>3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6</vt:i4>
      </vt:variant>
      <vt:variant>
        <vt:lpstr>Tema</vt:lpstr>
      </vt:variant>
      <vt:variant>
        <vt:i4>13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4</vt:i4>
      </vt:variant>
    </vt:vector>
  </HeadingPairs>
  <TitlesOfParts>
    <vt:vector size="34" baseType="lpstr">
      <vt:lpstr>Arial</vt:lpstr>
      <vt:lpstr>AU Passata</vt:lpstr>
      <vt:lpstr>AU Passata Light</vt:lpstr>
      <vt:lpstr>Calibri</vt:lpstr>
      <vt:lpstr>Georgia</vt:lpstr>
      <vt:lpstr>Times New Roman</vt:lpstr>
      <vt:lpstr>REGION H Hospital PowerPoint Skabelon_DKfinal</vt:lpstr>
      <vt:lpstr>BSS 16:9</vt:lpstr>
      <vt:lpstr>13_BSS 16:9</vt:lpstr>
      <vt:lpstr>6_BSS 16:9</vt:lpstr>
      <vt:lpstr>39_LEKO_Rapportskabelon 20. juli</vt:lpstr>
      <vt:lpstr>14_BSS 16:9</vt:lpstr>
      <vt:lpstr>21_BSS 16:9</vt:lpstr>
      <vt:lpstr>2_BSS 16:9</vt:lpstr>
      <vt:lpstr>1_REGION H Hospital PowerPoint Skabelon_DKfinal</vt:lpstr>
      <vt:lpstr>2_REGION H Hospital PowerPoint Skabelon_DKfinal</vt:lpstr>
      <vt:lpstr>3_REGION H Hospital PowerPoint Skabelon_DKfinal</vt:lpstr>
      <vt:lpstr>1_Brugerdefineret design</vt:lpstr>
      <vt:lpstr>4_REGION H Hospital PowerPoint Skabelon_DKfinal</vt:lpstr>
      <vt:lpstr>think-cell Slide</vt:lpstr>
      <vt:lpstr>PowerPoint-præsentation</vt:lpstr>
      <vt:lpstr>Oplæg ved Lars Bo Stenderup, Ledelseskonsulent og programansvarlig for Det Nationale Ledelsesprogram.    Dagens agenda: - Hvad er formålet med Det Nationale Ledelsesprogram på Sundhedsområdet 2.0 (2022-2026)?  - Hvad er det vigtigste at have fokus på - i det tværsektorielle samarbejde?      </vt:lpstr>
      <vt:lpstr>Programmets formål</vt:lpstr>
      <vt:lpstr>Ambition  – at skabe en national ‘VI’ bevægelse på sundhedsområdet</vt:lpstr>
      <vt:lpstr>Fakta om programmet 2.0 </vt:lpstr>
      <vt:lpstr>Det Nationale Ledelsesprogram - et 10-måneders forløb med fokus på ledelse af forbedringer i praksis</vt:lpstr>
      <vt:lpstr>Ord skaber virkeligheder!</vt:lpstr>
      <vt:lpstr>PowerPoint-præsentation</vt:lpstr>
      <vt:lpstr>3 praksisser der skaber samarbejdsrum</vt:lpstr>
      <vt:lpstr>Centrale spændingsfelter </vt:lpstr>
      <vt:lpstr>Magt spiller ind..</vt:lpstr>
      <vt:lpstr>Styrk den fælles opgave! </vt:lpstr>
      <vt:lpstr>Hvor er det vigtigste at starte?</vt:lpstr>
      <vt:lpstr>PowerPoint-præsentation</vt:lpstr>
    </vt:vector>
  </TitlesOfParts>
  <Manager/>
  <Company>Region Syddanmar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lkommen til læringstræf 2 Sæt holdet</dc:title>
  <dc:creator>Lars Bo Jespersen Stenderup</dc:creator>
  <cp:lastModifiedBy>Lars Bo Jespersen Stenderup</cp:lastModifiedBy>
  <cp:revision>101</cp:revision>
  <cp:lastPrinted>2022-10-07T09:38:28Z</cp:lastPrinted>
  <dcterms:created xsi:type="dcterms:W3CDTF">2022-09-21T11:26:26Z</dcterms:created>
  <dcterms:modified xsi:type="dcterms:W3CDTF">2022-11-15T17:38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:">
    <vt:lpwstr>www.skabelondesign.dk</vt:lpwstr>
  </property>
  <property fmtid="{D5CDD505-2E9C-101B-9397-08002B2CF9AE}" pid="3" name="TemplafyTimeStamp">
    <vt:lpwstr>2020-08-18T11:59:43.9440160Z</vt:lpwstr>
  </property>
  <property fmtid="{D5CDD505-2E9C-101B-9397-08002B2CF9AE}" pid="4" name="TemplafyTenantId">
    <vt:lpwstr>regionh</vt:lpwstr>
  </property>
  <property fmtid="{D5CDD505-2E9C-101B-9397-08002B2CF9AE}" pid="5" name="TemplafyTemplateId">
    <vt:lpwstr>636933321759797439</vt:lpwstr>
  </property>
  <property fmtid="{D5CDD505-2E9C-101B-9397-08002B2CF9AE}" pid="6" name="TemplafyUserProfileId">
    <vt:lpwstr>636450402664313568</vt:lpwstr>
  </property>
  <property fmtid="{D5CDD505-2E9C-101B-9397-08002B2CF9AE}" pid="7" name="TemplafyLanguageCode">
    <vt:lpwstr>da-DK</vt:lpwstr>
  </property>
</Properties>
</file>